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tags/tag18.xml" ContentType="application/vnd.openxmlformats-officedocument.presentationml.tags+xml"/>
  <Override PartName="/ppt/notesSlides/notesSlide2.xml" ContentType="application/vnd.openxmlformats-officedocument.presentationml.notesSlide+xml"/>
  <Override PartName="/ppt/tags/tag19.xml" ContentType="application/vnd.openxmlformats-officedocument.presentationml.tags+xml"/>
  <Override PartName="/ppt/notesSlides/notesSlide3.xml" ContentType="application/vnd.openxmlformats-officedocument.presentationml.notesSlide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5" r:id="rId4"/>
  </p:sldMasterIdLst>
  <p:notesMasterIdLst>
    <p:notesMasterId r:id="rId13"/>
  </p:notesMasterIdLst>
  <p:handoutMasterIdLst>
    <p:handoutMasterId r:id="rId14"/>
  </p:handoutMasterIdLst>
  <p:sldIdLst>
    <p:sldId id="2147475932" r:id="rId5"/>
    <p:sldId id="2147476038" r:id="rId6"/>
    <p:sldId id="2147476039" r:id="rId7"/>
    <p:sldId id="2147476040" r:id="rId8"/>
    <p:sldId id="2147476041" r:id="rId9"/>
    <p:sldId id="2147476042" r:id="rId10"/>
    <p:sldId id="2147476037" r:id="rId11"/>
    <p:sldId id="2147377174" r:id="rId12"/>
  </p:sldIdLst>
  <p:sldSz cx="12192000" cy="6858000"/>
  <p:notesSz cx="6858000" cy="9144000"/>
  <p:custDataLst>
    <p:tags r:id="rId15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halamov Sergey" initials="SS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4B183"/>
    <a:srgbClr val="9F6FCE"/>
    <a:srgbClr val="F37022"/>
    <a:srgbClr val="3E5EBE"/>
    <a:srgbClr val="FFFFFF"/>
    <a:srgbClr val="6B3C8F"/>
    <a:srgbClr val="000000"/>
    <a:srgbClr val="999999"/>
    <a:srgbClr val="E6E6E6"/>
    <a:srgbClr val="EAE8E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002" autoAdjust="0"/>
    <p:restoredTop sz="94660"/>
  </p:normalViewPr>
  <p:slideViewPr>
    <p:cSldViewPr snapToGrid="0">
      <p:cViewPr varScale="1">
        <p:scale>
          <a:sx n="67" d="100"/>
          <a:sy n="67" d="100"/>
        </p:scale>
        <p:origin x="680" y="52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87" d="100"/>
          <a:sy n="87" d="100"/>
        </p:scale>
        <p:origin x="2988" y="6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533809B-5DD3-46AA-80F2-FD7993CE27A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453E2A9-20CA-4FE9-AB82-2A16D13259E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DB8C63-43FE-40E9-B06E-1F8E1B467058}" type="datetimeFigureOut">
              <a:rPr lang="ru-RU" smtClean="0"/>
              <a:t>19.04.2024</a:t>
            </a:fld>
            <a:endParaRPr lang="ru-R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155D8EB-E080-4064-8875-682F8AD2F48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B25C03B-DA8D-4F43-82F3-8349452D9FD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271E2C-DF3B-4C4F-8384-66C077D8A95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026429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E24203-645F-4720-9067-8C151B762E94}" type="datetimeFigureOut">
              <a:rPr lang="ru-RU" smtClean="0"/>
              <a:t>19.04.2024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B37BC9-B6E4-422E-8740-AC7F839112A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859071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1EA3F7-A4AE-45C5-9F05-C4EE8BA1207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02391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1EA3F7-A4AE-45C5-9F05-C4EE8BA1207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07063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1EA3F7-A4AE-45C5-9F05-C4EE8BA1207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86774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1EA3F7-A4AE-45C5-9F05-C4EE8BA1207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61116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1EA3F7-A4AE-45C5-9F05-C4EE8BA1207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13276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28299" eaLnBrk="1" hangingPunct="1">
              <a:spcBef>
                <a:spcPct val="0"/>
              </a:spcBef>
              <a:defRPr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03251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Image">
    <p:bg>
      <p:bgPr>
        <a:gradFill>
          <a:gsLst>
            <a:gs pos="52000">
              <a:schemeClr val="bg1">
                <a:alpha val="30000"/>
              </a:schemeClr>
            </a:gs>
            <a:gs pos="0">
              <a:schemeClr val="bg1">
                <a:alpha val="0"/>
              </a:schemeClr>
            </a:gs>
            <a:gs pos="100000">
              <a:schemeClr val="bg1">
                <a:alpha val="0"/>
              </a:schemeClr>
            </a:gs>
          </a:gsLst>
          <a:path path="shap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81EB7A2-3569-4840-8616-C447CA68EDD5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600" y="0"/>
            <a:ext cx="12192000" cy="6858000"/>
          </a:xfrm>
          <a:prstGeom prst="rect">
            <a:avLst/>
          </a:prstGeom>
        </p:spPr>
      </p:pic>
      <p:sp>
        <p:nvSpPr>
          <p:cNvPr id="44" name="Freeform 5">
            <a:extLst>
              <a:ext uri="{FF2B5EF4-FFF2-40B4-BE49-F238E27FC236}">
                <a16:creationId xmlns:a16="http://schemas.microsoft.com/office/drawing/2014/main" id="{2A8A131B-379E-4299-A082-FB5CB1A67875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50851" y="876568"/>
            <a:ext cx="262382" cy="274921"/>
          </a:xfrm>
          <a:custGeom>
            <a:avLst/>
            <a:gdLst>
              <a:gd name="T0" fmla="*/ 1914 w 2342"/>
              <a:gd name="T1" fmla="*/ 297 h 2452"/>
              <a:gd name="T2" fmla="*/ 1714 w 2342"/>
              <a:gd name="T3" fmla="*/ 134 h 2452"/>
              <a:gd name="T4" fmla="*/ 1172 w 2342"/>
              <a:gd name="T5" fmla="*/ 0 h 2452"/>
              <a:gd name="T6" fmla="*/ 342 w 2342"/>
              <a:gd name="T7" fmla="*/ 349 h 2452"/>
              <a:gd name="T8" fmla="*/ 0 w 2342"/>
              <a:gd name="T9" fmla="*/ 1225 h 2452"/>
              <a:gd name="T10" fmla="*/ 343 w 2342"/>
              <a:gd name="T11" fmla="*/ 2103 h 2452"/>
              <a:gd name="T12" fmla="*/ 1173 w 2342"/>
              <a:gd name="T13" fmla="*/ 2452 h 2452"/>
              <a:gd name="T14" fmla="*/ 1715 w 2342"/>
              <a:gd name="T15" fmla="*/ 2318 h 2452"/>
              <a:gd name="T16" fmla="*/ 1915 w 2342"/>
              <a:gd name="T17" fmla="*/ 2154 h 2452"/>
              <a:gd name="T18" fmla="*/ 1915 w 2342"/>
              <a:gd name="T19" fmla="*/ 2386 h 2452"/>
              <a:gd name="T20" fmla="*/ 2342 w 2342"/>
              <a:gd name="T21" fmla="*/ 2386 h 2452"/>
              <a:gd name="T22" fmla="*/ 2342 w 2342"/>
              <a:gd name="T23" fmla="*/ 66 h 2452"/>
              <a:gd name="T24" fmla="*/ 1915 w 2342"/>
              <a:gd name="T25" fmla="*/ 66 h 2452"/>
              <a:gd name="T26" fmla="*/ 1914 w 2342"/>
              <a:gd name="T27" fmla="*/ 297 h 2452"/>
              <a:gd name="T28" fmla="*/ 1177 w 2342"/>
              <a:gd name="T29" fmla="*/ 2047 h 2452"/>
              <a:gd name="T30" fmla="*/ 644 w 2342"/>
              <a:gd name="T31" fmla="*/ 1813 h 2452"/>
              <a:gd name="T32" fmla="*/ 431 w 2342"/>
              <a:gd name="T33" fmla="*/ 1225 h 2452"/>
              <a:gd name="T34" fmla="*/ 644 w 2342"/>
              <a:gd name="T35" fmla="*/ 638 h 2452"/>
              <a:gd name="T36" fmla="*/ 1177 w 2342"/>
              <a:gd name="T37" fmla="*/ 404 h 2452"/>
              <a:gd name="T38" fmla="*/ 1731 w 2342"/>
              <a:gd name="T39" fmla="*/ 639 h 2452"/>
              <a:gd name="T40" fmla="*/ 1954 w 2342"/>
              <a:gd name="T41" fmla="*/ 1225 h 2452"/>
              <a:gd name="T42" fmla="*/ 1731 w 2342"/>
              <a:gd name="T43" fmla="*/ 1812 h 2452"/>
              <a:gd name="T44" fmla="*/ 1177 w 2342"/>
              <a:gd name="T45" fmla="*/ 2047 h 2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342" h="2452">
                <a:moveTo>
                  <a:pt x="1914" y="297"/>
                </a:moveTo>
                <a:cubicBezTo>
                  <a:pt x="1861" y="238"/>
                  <a:pt x="1795" y="181"/>
                  <a:pt x="1714" y="134"/>
                </a:cubicBezTo>
                <a:cubicBezTo>
                  <a:pt x="1577" y="54"/>
                  <a:pt x="1398" y="0"/>
                  <a:pt x="1172" y="0"/>
                </a:cubicBezTo>
                <a:cubicBezTo>
                  <a:pt x="848" y="0"/>
                  <a:pt x="554" y="130"/>
                  <a:pt x="342" y="349"/>
                </a:cubicBezTo>
                <a:cubicBezTo>
                  <a:pt x="130" y="567"/>
                  <a:pt x="0" y="874"/>
                  <a:pt x="0" y="1225"/>
                </a:cubicBezTo>
                <a:cubicBezTo>
                  <a:pt x="0" y="1577"/>
                  <a:pt x="130" y="1884"/>
                  <a:pt x="343" y="2103"/>
                </a:cubicBezTo>
                <a:cubicBezTo>
                  <a:pt x="555" y="2321"/>
                  <a:pt x="849" y="2452"/>
                  <a:pt x="1173" y="2452"/>
                </a:cubicBezTo>
                <a:cubicBezTo>
                  <a:pt x="1399" y="2452"/>
                  <a:pt x="1578" y="2398"/>
                  <a:pt x="1715" y="2318"/>
                </a:cubicBezTo>
                <a:cubicBezTo>
                  <a:pt x="1796" y="2270"/>
                  <a:pt x="1862" y="2214"/>
                  <a:pt x="1915" y="2154"/>
                </a:cubicBezTo>
                <a:cubicBezTo>
                  <a:pt x="1915" y="2386"/>
                  <a:pt x="1915" y="2386"/>
                  <a:pt x="1915" y="2386"/>
                </a:cubicBezTo>
                <a:cubicBezTo>
                  <a:pt x="2342" y="2386"/>
                  <a:pt x="2342" y="2386"/>
                  <a:pt x="2342" y="2386"/>
                </a:cubicBezTo>
                <a:cubicBezTo>
                  <a:pt x="2342" y="66"/>
                  <a:pt x="2342" y="66"/>
                  <a:pt x="2342" y="66"/>
                </a:cubicBezTo>
                <a:cubicBezTo>
                  <a:pt x="1915" y="66"/>
                  <a:pt x="1915" y="66"/>
                  <a:pt x="1915" y="66"/>
                </a:cubicBezTo>
                <a:cubicBezTo>
                  <a:pt x="1914" y="297"/>
                  <a:pt x="1914" y="297"/>
                  <a:pt x="1914" y="297"/>
                </a:cubicBezTo>
                <a:close/>
                <a:moveTo>
                  <a:pt x="1177" y="2047"/>
                </a:moveTo>
                <a:cubicBezTo>
                  <a:pt x="961" y="2047"/>
                  <a:pt x="776" y="1959"/>
                  <a:pt x="644" y="1813"/>
                </a:cubicBezTo>
                <a:cubicBezTo>
                  <a:pt x="511" y="1667"/>
                  <a:pt x="431" y="1462"/>
                  <a:pt x="431" y="1225"/>
                </a:cubicBezTo>
                <a:cubicBezTo>
                  <a:pt x="431" y="989"/>
                  <a:pt x="512" y="784"/>
                  <a:pt x="644" y="638"/>
                </a:cubicBezTo>
                <a:cubicBezTo>
                  <a:pt x="776" y="492"/>
                  <a:pt x="961" y="404"/>
                  <a:pt x="1177" y="404"/>
                </a:cubicBezTo>
                <a:cubicBezTo>
                  <a:pt x="1400" y="404"/>
                  <a:pt x="1593" y="492"/>
                  <a:pt x="1731" y="639"/>
                </a:cubicBezTo>
                <a:cubicBezTo>
                  <a:pt x="1870" y="784"/>
                  <a:pt x="1954" y="990"/>
                  <a:pt x="1954" y="1225"/>
                </a:cubicBezTo>
                <a:cubicBezTo>
                  <a:pt x="1954" y="1461"/>
                  <a:pt x="1870" y="1666"/>
                  <a:pt x="1731" y="1812"/>
                </a:cubicBezTo>
                <a:cubicBezTo>
                  <a:pt x="1593" y="1959"/>
                  <a:pt x="1400" y="2047"/>
                  <a:pt x="1177" y="2047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</a:pPr>
            <a:endParaRPr lang="ru-RU"/>
          </a:p>
        </p:txBody>
      </p:sp>
      <p:sp>
        <p:nvSpPr>
          <p:cNvPr id="45" name="Freeform 6">
            <a:extLst>
              <a:ext uri="{FF2B5EF4-FFF2-40B4-BE49-F238E27FC236}">
                <a16:creationId xmlns:a16="http://schemas.microsoft.com/office/drawing/2014/main" id="{CE6877F5-8E50-4C12-8F85-C23E5729491F}"/>
              </a:ext>
            </a:extLst>
          </p:cNvPr>
          <p:cNvSpPr>
            <a:spLocks/>
          </p:cNvSpPr>
          <p:nvPr userDrawn="1"/>
        </p:nvSpPr>
        <p:spPr bwMode="auto">
          <a:xfrm>
            <a:off x="766174" y="883998"/>
            <a:ext cx="251237" cy="260060"/>
          </a:xfrm>
          <a:custGeom>
            <a:avLst/>
            <a:gdLst>
              <a:gd name="T0" fmla="*/ 523 w 541"/>
              <a:gd name="T1" fmla="*/ 0 h 560"/>
              <a:gd name="T2" fmla="*/ 500 w 541"/>
              <a:gd name="T3" fmla="*/ 0 h 560"/>
              <a:gd name="T4" fmla="*/ 405 w 541"/>
              <a:gd name="T5" fmla="*/ 0 h 560"/>
              <a:gd name="T6" fmla="*/ 270 w 541"/>
              <a:gd name="T7" fmla="*/ 182 h 560"/>
              <a:gd name="T8" fmla="*/ 134 w 541"/>
              <a:gd name="T9" fmla="*/ 0 h 560"/>
              <a:gd name="T10" fmla="*/ 17 w 541"/>
              <a:gd name="T11" fmla="*/ 0 h 560"/>
              <a:gd name="T12" fmla="*/ 213 w 541"/>
              <a:gd name="T13" fmla="*/ 263 h 560"/>
              <a:gd name="T14" fmla="*/ 0 w 541"/>
              <a:gd name="T15" fmla="*/ 560 h 560"/>
              <a:gd name="T16" fmla="*/ 116 w 541"/>
              <a:gd name="T17" fmla="*/ 560 h 560"/>
              <a:gd name="T18" fmla="*/ 271 w 541"/>
              <a:gd name="T19" fmla="*/ 345 h 560"/>
              <a:gd name="T20" fmla="*/ 423 w 541"/>
              <a:gd name="T21" fmla="*/ 560 h 560"/>
              <a:gd name="T22" fmla="*/ 541 w 541"/>
              <a:gd name="T23" fmla="*/ 560 h 560"/>
              <a:gd name="T24" fmla="*/ 328 w 541"/>
              <a:gd name="T25" fmla="*/ 262 h 560"/>
              <a:gd name="T26" fmla="*/ 523 w 541"/>
              <a:gd name="T27" fmla="*/ 0 h 5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41" h="560">
                <a:moveTo>
                  <a:pt x="523" y="0"/>
                </a:moveTo>
                <a:lnTo>
                  <a:pt x="500" y="0"/>
                </a:lnTo>
                <a:lnTo>
                  <a:pt x="405" y="0"/>
                </a:lnTo>
                <a:lnTo>
                  <a:pt x="270" y="182"/>
                </a:lnTo>
                <a:lnTo>
                  <a:pt x="134" y="0"/>
                </a:lnTo>
                <a:lnTo>
                  <a:pt x="17" y="0"/>
                </a:lnTo>
                <a:lnTo>
                  <a:pt x="213" y="263"/>
                </a:lnTo>
                <a:lnTo>
                  <a:pt x="0" y="560"/>
                </a:lnTo>
                <a:lnTo>
                  <a:pt x="116" y="560"/>
                </a:lnTo>
                <a:lnTo>
                  <a:pt x="271" y="345"/>
                </a:lnTo>
                <a:lnTo>
                  <a:pt x="423" y="560"/>
                </a:lnTo>
                <a:lnTo>
                  <a:pt x="541" y="560"/>
                </a:lnTo>
                <a:lnTo>
                  <a:pt x="328" y="262"/>
                </a:lnTo>
                <a:lnTo>
                  <a:pt x="52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</a:pPr>
            <a:endParaRPr lang="ru-RU"/>
          </a:p>
        </p:txBody>
      </p:sp>
      <p:sp>
        <p:nvSpPr>
          <p:cNvPr id="46" name="Freeform 7">
            <a:extLst>
              <a:ext uri="{FF2B5EF4-FFF2-40B4-BE49-F238E27FC236}">
                <a16:creationId xmlns:a16="http://schemas.microsoft.com/office/drawing/2014/main" id="{544317A4-BDCF-4C96-BB80-549F5D96DCED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44345" y="876568"/>
            <a:ext cx="250772" cy="273992"/>
          </a:xfrm>
          <a:custGeom>
            <a:avLst/>
            <a:gdLst>
              <a:gd name="T0" fmla="*/ 1605 w 2235"/>
              <a:gd name="T1" fmla="*/ 92 h 2444"/>
              <a:gd name="T2" fmla="*/ 1165 w 2235"/>
              <a:gd name="T3" fmla="*/ 0 h 2444"/>
              <a:gd name="T4" fmla="*/ 333 w 2235"/>
              <a:gd name="T5" fmla="*/ 339 h 2444"/>
              <a:gd name="T6" fmla="*/ 1 w 2235"/>
              <a:gd name="T7" fmla="*/ 1236 h 2444"/>
              <a:gd name="T8" fmla="*/ 1 w 2235"/>
              <a:gd name="T9" fmla="*/ 1253 h 2444"/>
              <a:gd name="T10" fmla="*/ 328 w 2235"/>
              <a:gd name="T11" fmla="*/ 2119 h 2444"/>
              <a:gd name="T12" fmla="*/ 1174 w 2235"/>
              <a:gd name="T13" fmla="*/ 2444 h 2444"/>
              <a:gd name="T14" fmla="*/ 1658 w 2235"/>
              <a:gd name="T15" fmla="*/ 2360 h 2444"/>
              <a:gd name="T16" fmla="*/ 2109 w 2235"/>
              <a:gd name="T17" fmla="*/ 2036 h 2444"/>
              <a:gd name="T18" fmla="*/ 2140 w 2235"/>
              <a:gd name="T19" fmla="*/ 2001 h 2444"/>
              <a:gd name="T20" fmla="*/ 1851 w 2235"/>
              <a:gd name="T21" fmla="*/ 1719 h 2444"/>
              <a:gd name="T22" fmla="*/ 1817 w 2235"/>
              <a:gd name="T23" fmla="*/ 1754 h 2444"/>
              <a:gd name="T24" fmla="*/ 1540 w 2235"/>
              <a:gd name="T25" fmla="*/ 1972 h 2444"/>
              <a:gd name="T26" fmla="*/ 1172 w 2235"/>
              <a:gd name="T27" fmla="*/ 2048 h 2444"/>
              <a:gd name="T28" fmla="*/ 871 w 2235"/>
              <a:gd name="T29" fmla="*/ 1995 h 2444"/>
              <a:gd name="T30" fmla="*/ 558 w 2235"/>
              <a:gd name="T31" fmla="*/ 1738 h 2444"/>
              <a:gd name="T32" fmla="*/ 434 w 2235"/>
              <a:gd name="T33" fmla="*/ 1345 h 2444"/>
              <a:gd name="T34" fmla="*/ 2228 w 2235"/>
              <a:gd name="T35" fmla="*/ 1345 h 2444"/>
              <a:gd name="T36" fmla="*/ 2230 w 2235"/>
              <a:gd name="T37" fmla="*/ 1300 h 2444"/>
              <a:gd name="T38" fmla="*/ 2235 w 2235"/>
              <a:gd name="T39" fmla="*/ 1156 h 2444"/>
              <a:gd name="T40" fmla="*/ 1943 w 2235"/>
              <a:gd name="T41" fmla="*/ 341 h 2444"/>
              <a:gd name="T42" fmla="*/ 1605 w 2235"/>
              <a:gd name="T43" fmla="*/ 92 h 2444"/>
              <a:gd name="T44" fmla="*/ 673 w 2235"/>
              <a:gd name="T45" fmla="*/ 585 h 2444"/>
              <a:gd name="T46" fmla="*/ 1165 w 2235"/>
              <a:gd name="T47" fmla="*/ 406 h 2444"/>
              <a:gd name="T48" fmla="*/ 1606 w 2235"/>
              <a:gd name="T49" fmla="*/ 585 h 2444"/>
              <a:gd name="T50" fmla="*/ 1786 w 2235"/>
              <a:gd name="T51" fmla="*/ 964 h 2444"/>
              <a:gd name="T52" fmla="*/ 459 w 2235"/>
              <a:gd name="T53" fmla="*/ 964 h 2444"/>
              <a:gd name="T54" fmla="*/ 673 w 2235"/>
              <a:gd name="T55" fmla="*/ 585 h 24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2235" h="2444">
                <a:moveTo>
                  <a:pt x="1605" y="92"/>
                </a:moveTo>
                <a:cubicBezTo>
                  <a:pt x="1474" y="33"/>
                  <a:pt x="1325" y="0"/>
                  <a:pt x="1165" y="0"/>
                </a:cubicBezTo>
                <a:cubicBezTo>
                  <a:pt x="834" y="0"/>
                  <a:pt x="540" y="122"/>
                  <a:pt x="333" y="339"/>
                </a:cubicBezTo>
                <a:cubicBezTo>
                  <a:pt x="124" y="556"/>
                  <a:pt x="0" y="865"/>
                  <a:pt x="1" y="1236"/>
                </a:cubicBezTo>
                <a:cubicBezTo>
                  <a:pt x="1" y="1253"/>
                  <a:pt x="1" y="1253"/>
                  <a:pt x="1" y="1253"/>
                </a:cubicBezTo>
                <a:cubicBezTo>
                  <a:pt x="1" y="1610"/>
                  <a:pt x="120" y="1909"/>
                  <a:pt x="328" y="2119"/>
                </a:cubicBezTo>
                <a:cubicBezTo>
                  <a:pt x="536" y="2328"/>
                  <a:pt x="831" y="2444"/>
                  <a:pt x="1174" y="2444"/>
                </a:cubicBezTo>
                <a:cubicBezTo>
                  <a:pt x="1339" y="2444"/>
                  <a:pt x="1502" y="2423"/>
                  <a:pt x="1658" y="2360"/>
                </a:cubicBezTo>
                <a:cubicBezTo>
                  <a:pt x="1815" y="2298"/>
                  <a:pt x="1966" y="2195"/>
                  <a:pt x="2109" y="2036"/>
                </a:cubicBezTo>
                <a:cubicBezTo>
                  <a:pt x="2140" y="2001"/>
                  <a:pt x="2140" y="2001"/>
                  <a:pt x="2140" y="2001"/>
                </a:cubicBezTo>
                <a:cubicBezTo>
                  <a:pt x="1851" y="1719"/>
                  <a:pt x="1851" y="1719"/>
                  <a:pt x="1851" y="1719"/>
                </a:cubicBezTo>
                <a:cubicBezTo>
                  <a:pt x="1817" y="1754"/>
                  <a:pt x="1817" y="1754"/>
                  <a:pt x="1817" y="1754"/>
                </a:cubicBezTo>
                <a:cubicBezTo>
                  <a:pt x="1727" y="1849"/>
                  <a:pt x="1640" y="1922"/>
                  <a:pt x="1540" y="1972"/>
                </a:cubicBezTo>
                <a:cubicBezTo>
                  <a:pt x="1441" y="2021"/>
                  <a:pt x="1325" y="2048"/>
                  <a:pt x="1172" y="2048"/>
                </a:cubicBezTo>
                <a:cubicBezTo>
                  <a:pt x="1061" y="2048"/>
                  <a:pt x="960" y="2030"/>
                  <a:pt x="871" y="1995"/>
                </a:cubicBezTo>
                <a:cubicBezTo>
                  <a:pt x="739" y="1943"/>
                  <a:pt x="632" y="1856"/>
                  <a:pt x="558" y="1738"/>
                </a:cubicBezTo>
                <a:cubicBezTo>
                  <a:pt x="489" y="1631"/>
                  <a:pt x="447" y="1499"/>
                  <a:pt x="434" y="1345"/>
                </a:cubicBezTo>
                <a:cubicBezTo>
                  <a:pt x="2228" y="1345"/>
                  <a:pt x="2228" y="1345"/>
                  <a:pt x="2228" y="1345"/>
                </a:cubicBezTo>
                <a:cubicBezTo>
                  <a:pt x="2230" y="1300"/>
                  <a:pt x="2230" y="1300"/>
                  <a:pt x="2230" y="1300"/>
                </a:cubicBezTo>
                <a:cubicBezTo>
                  <a:pt x="2235" y="1232"/>
                  <a:pt x="2235" y="1156"/>
                  <a:pt x="2235" y="1156"/>
                </a:cubicBezTo>
                <a:cubicBezTo>
                  <a:pt x="2235" y="839"/>
                  <a:pt x="2130" y="551"/>
                  <a:pt x="1943" y="341"/>
                </a:cubicBezTo>
                <a:cubicBezTo>
                  <a:pt x="1850" y="236"/>
                  <a:pt x="1736" y="151"/>
                  <a:pt x="1605" y="92"/>
                </a:cubicBezTo>
                <a:close/>
                <a:moveTo>
                  <a:pt x="673" y="585"/>
                </a:moveTo>
                <a:cubicBezTo>
                  <a:pt x="800" y="475"/>
                  <a:pt x="974" y="406"/>
                  <a:pt x="1165" y="406"/>
                </a:cubicBezTo>
                <a:cubicBezTo>
                  <a:pt x="1337" y="406"/>
                  <a:pt x="1492" y="475"/>
                  <a:pt x="1606" y="585"/>
                </a:cubicBezTo>
                <a:cubicBezTo>
                  <a:pt x="1707" y="685"/>
                  <a:pt x="1774" y="817"/>
                  <a:pt x="1786" y="964"/>
                </a:cubicBezTo>
                <a:cubicBezTo>
                  <a:pt x="459" y="964"/>
                  <a:pt x="459" y="964"/>
                  <a:pt x="459" y="964"/>
                </a:cubicBezTo>
                <a:cubicBezTo>
                  <a:pt x="481" y="816"/>
                  <a:pt x="559" y="684"/>
                  <a:pt x="673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</a:pPr>
            <a:endParaRPr lang="ru-RU"/>
          </a:p>
        </p:txBody>
      </p:sp>
      <p:sp>
        <p:nvSpPr>
          <p:cNvPr id="47" name="Freeform 8">
            <a:extLst>
              <a:ext uri="{FF2B5EF4-FFF2-40B4-BE49-F238E27FC236}">
                <a16:creationId xmlns:a16="http://schemas.microsoft.com/office/drawing/2014/main" id="{B0F7B544-FDEB-46B2-8C45-7B7A6497D06F}"/>
              </a:ext>
            </a:extLst>
          </p:cNvPr>
          <p:cNvSpPr>
            <a:spLocks/>
          </p:cNvSpPr>
          <p:nvPr userDrawn="1"/>
        </p:nvSpPr>
        <p:spPr bwMode="auto">
          <a:xfrm>
            <a:off x="1357346" y="879819"/>
            <a:ext cx="220122" cy="264240"/>
          </a:xfrm>
          <a:custGeom>
            <a:avLst/>
            <a:gdLst>
              <a:gd name="T0" fmla="*/ 1608 w 1965"/>
              <a:gd name="T1" fmla="*/ 142 h 2354"/>
              <a:gd name="T2" fmla="*/ 1093 w 1965"/>
              <a:gd name="T3" fmla="*/ 0 h 2354"/>
              <a:gd name="T4" fmla="*/ 627 w 1965"/>
              <a:gd name="T5" fmla="*/ 122 h 2354"/>
              <a:gd name="T6" fmla="*/ 431 w 1965"/>
              <a:gd name="T7" fmla="*/ 293 h 2354"/>
              <a:gd name="T8" fmla="*/ 431 w 1965"/>
              <a:gd name="T9" fmla="*/ 35 h 2354"/>
              <a:gd name="T10" fmla="*/ 0 w 1965"/>
              <a:gd name="T11" fmla="*/ 35 h 2354"/>
              <a:gd name="T12" fmla="*/ 0 w 1965"/>
              <a:gd name="T13" fmla="*/ 2354 h 2354"/>
              <a:gd name="T14" fmla="*/ 431 w 1965"/>
              <a:gd name="T15" fmla="*/ 2354 h 2354"/>
              <a:gd name="T16" fmla="*/ 431 w 1965"/>
              <a:gd name="T17" fmla="*/ 979 h 2354"/>
              <a:gd name="T18" fmla="*/ 591 w 1965"/>
              <a:gd name="T19" fmla="*/ 562 h 2354"/>
              <a:gd name="T20" fmla="*/ 1009 w 1965"/>
              <a:gd name="T21" fmla="*/ 405 h 2354"/>
              <a:gd name="T22" fmla="*/ 1232 w 1965"/>
              <a:gd name="T23" fmla="*/ 443 h 2354"/>
              <a:gd name="T24" fmla="*/ 1456 w 1965"/>
              <a:gd name="T25" fmla="*/ 631 h 2354"/>
              <a:gd name="T26" fmla="*/ 1537 w 1965"/>
              <a:gd name="T27" fmla="*/ 956 h 2354"/>
              <a:gd name="T28" fmla="*/ 1537 w 1965"/>
              <a:gd name="T29" fmla="*/ 2354 h 2354"/>
              <a:gd name="T30" fmla="*/ 1965 w 1965"/>
              <a:gd name="T31" fmla="*/ 2354 h 2354"/>
              <a:gd name="T32" fmla="*/ 1965 w 1965"/>
              <a:gd name="T33" fmla="*/ 886 h 2354"/>
              <a:gd name="T34" fmla="*/ 1906 w 1965"/>
              <a:gd name="T35" fmla="*/ 528 h 2354"/>
              <a:gd name="T36" fmla="*/ 1608 w 1965"/>
              <a:gd name="T37" fmla="*/ 142 h 2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965" h="2354">
                <a:moveTo>
                  <a:pt x="1608" y="142"/>
                </a:moveTo>
                <a:cubicBezTo>
                  <a:pt x="1469" y="50"/>
                  <a:pt x="1295" y="0"/>
                  <a:pt x="1093" y="0"/>
                </a:cubicBezTo>
                <a:cubicBezTo>
                  <a:pt x="913" y="0"/>
                  <a:pt x="755" y="45"/>
                  <a:pt x="627" y="122"/>
                </a:cubicBezTo>
                <a:cubicBezTo>
                  <a:pt x="550" y="169"/>
                  <a:pt x="485" y="227"/>
                  <a:pt x="431" y="293"/>
                </a:cubicBezTo>
                <a:cubicBezTo>
                  <a:pt x="431" y="35"/>
                  <a:pt x="431" y="35"/>
                  <a:pt x="431" y="35"/>
                </a:cubicBezTo>
                <a:cubicBezTo>
                  <a:pt x="0" y="35"/>
                  <a:pt x="0" y="35"/>
                  <a:pt x="0" y="35"/>
                </a:cubicBezTo>
                <a:cubicBezTo>
                  <a:pt x="0" y="2354"/>
                  <a:pt x="0" y="2354"/>
                  <a:pt x="0" y="2354"/>
                </a:cubicBezTo>
                <a:cubicBezTo>
                  <a:pt x="431" y="2354"/>
                  <a:pt x="431" y="2354"/>
                  <a:pt x="431" y="2354"/>
                </a:cubicBezTo>
                <a:cubicBezTo>
                  <a:pt x="431" y="979"/>
                  <a:pt x="431" y="979"/>
                  <a:pt x="431" y="979"/>
                </a:cubicBezTo>
                <a:cubicBezTo>
                  <a:pt x="431" y="804"/>
                  <a:pt x="491" y="662"/>
                  <a:pt x="591" y="562"/>
                </a:cubicBezTo>
                <a:cubicBezTo>
                  <a:pt x="691" y="463"/>
                  <a:pt x="834" y="405"/>
                  <a:pt x="1009" y="405"/>
                </a:cubicBezTo>
                <a:cubicBezTo>
                  <a:pt x="1093" y="405"/>
                  <a:pt x="1168" y="419"/>
                  <a:pt x="1232" y="443"/>
                </a:cubicBezTo>
                <a:cubicBezTo>
                  <a:pt x="1329" y="481"/>
                  <a:pt x="1405" y="545"/>
                  <a:pt x="1456" y="631"/>
                </a:cubicBezTo>
                <a:cubicBezTo>
                  <a:pt x="1509" y="717"/>
                  <a:pt x="1537" y="826"/>
                  <a:pt x="1537" y="956"/>
                </a:cubicBezTo>
                <a:cubicBezTo>
                  <a:pt x="1537" y="2354"/>
                  <a:pt x="1537" y="2354"/>
                  <a:pt x="1537" y="2354"/>
                </a:cubicBezTo>
                <a:cubicBezTo>
                  <a:pt x="1965" y="2354"/>
                  <a:pt x="1965" y="2354"/>
                  <a:pt x="1965" y="2354"/>
                </a:cubicBezTo>
                <a:cubicBezTo>
                  <a:pt x="1965" y="886"/>
                  <a:pt x="1965" y="886"/>
                  <a:pt x="1965" y="886"/>
                </a:cubicBezTo>
                <a:cubicBezTo>
                  <a:pt x="1965" y="757"/>
                  <a:pt x="1944" y="636"/>
                  <a:pt x="1906" y="528"/>
                </a:cubicBezTo>
                <a:cubicBezTo>
                  <a:pt x="1848" y="367"/>
                  <a:pt x="1746" y="233"/>
                  <a:pt x="1608" y="14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</a:pPr>
            <a:endParaRPr lang="ru-RU"/>
          </a:p>
        </p:txBody>
      </p:sp>
      <p:sp>
        <p:nvSpPr>
          <p:cNvPr id="48" name="Freeform 9">
            <a:extLst>
              <a:ext uri="{FF2B5EF4-FFF2-40B4-BE49-F238E27FC236}">
                <a16:creationId xmlns:a16="http://schemas.microsoft.com/office/drawing/2014/main" id="{66269EB8-9283-48F9-8794-D370FF445A26}"/>
              </a:ext>
            </a:extLst>
          </p:cNvPr>
          <p:cNvSpPr>
            <a:spLocks/>
          </p:cNvSpPr>
          <p:nvPr userDrawn="1"/>
        </p:nvSpPr>
        <p:spPr bwMode="auto">
          <a:xfrm>
            <a:off x="1649914" y="883998"/>
            <a:ext cx="48297" cy="260060"/>
          </a:xfrm>
          <a:custGeom>
            <a:avLst/>
            <a:gdLst>
              <a:gd name="T0" fmla="*/ 0 w 104"/>
              <a:gd name="T1" fmla="*/ 560 h 560"/>
              <a:gd name="T2" fmla="*/ 11 w 104"/>
              <a:gd name="T3" fmla="*/ 560 h 560"/>
              <a:gd name="T4" fmla="*/ 104 w 104"/>
              <a:gd name="T5" fmla="*/ 560 h 560"/>
              <a:gd name="T6" fmla="*/ 104 w 104"/>
              <a:gd name="T7" fmla="*/ 0 h 560"/>
              <a:gd name="T8" fmla="*/ 0 w 104"/>
              <a:gd name="T9" fmla="*/ 0 h 560"/>
              <a:gd name="T10" fmla="*/ 0 w 104"/>
              <a:gd name="T11" fmla="*/ 560 h 5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4" h="560">
                <a:moveTo>
                  <a:pt x="0" y="560"/>
                </a:moveTo>
                <a:lnTo>
                  <a:pt x="11" y="560"/>
                </a:lnTo>
                <a:lnTo>
                  <a:pt x="104" y="560"/>
                </a:lnTo>
                <a:lnTo>
                  <a:pt x="104" y="0"/>
                </a:lnTo>
                <a:lnTo>
                  <a:pt x="0" y="0"/>
                </a:lnTo>
                <a:lnTo>
                  <a:pt x="0" y="56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</a:pPr>
            <a:endParaRPr lang="ru-RU"/>
          </a:p>
        </p:txBody>
      </p:sp>
      <p:sp>
        <p:nvSpPr>
          <p:cNvPr id="49" name="Freeform 10">
            <a:extLst>
              <a:ext uri="{FF2B5EF4-FFF2-40B4-BE49-F238E27FC236}">
                <a16:creationId xmlns:a16="http://schemas.microsoft.com/office/drawing/2014/main" id="{72504E86-77F6-40AB-839D-6AE196C88220}"/>
              </a:ext>
            </a:extLst>
          </p:cNvPr>
          <p:cNvSpPr>
            <a:spLocks/>
          </p:cNvSpPr>
          <p:nvPr userDrawn="1"/>
        </p:nvSpPr>
        <p:spPr bwMode="auto">
          <a:xfrm>
            <a:off x="1751616" y="883998"/>
            <a:ext cx="251237" cy="260060"/>
          </a:xfrm>
          <a:custGeom>
            <a:avLst/>
            <a:gdLst>
              <a:gd name="T0" fmla="*/ 328 w 541"/>
              <a:gd name="T1" fmla="*/ 262 h 560"/>
              <a:gd name="T2" fmla="*/ 523 w 541"/>
              <a:gd name="T3" fmla="*/ 0 h 560"/>
              <a:gd name="T4" fmla="*/ 405 w 541"/>
              <a:gd name="T5" fmla="*/ 0 h 560"/>
              <a:gd name="T6" fmla="*/ 270 w 541"/>
              <a:gd name="T7" fmla="*/ 182 h 560"/>
              <a:gd name="T8" fmla="*/ 134 w 541"/>
              <a:gd name="T9" fmla="*/ 0 h 560"/>
              <a:gd name="T10" fmla="*/ 17 w 541"/>
              <a:gd name="T11" fmla="*/ 0 h 560"/>
              <a:gd name="T12" fmla="*/ 213 w 541"/>
              <a:gd name="T13" fmla="*/ 263 h 560"/>
              <a:gd name="T14" fmla="*/ 0 w 541"/>
              <a:gd name="T15" fmla="*/ 560 h 560"/>
              <a:gd name="T16" fmla="*/ 116 w 541"/>
              <a:gd name="T17" fmla="*/ 560 h 560"/>
              <a:gd name="T18" fmla="*/ 271 w 541"/>
              <a:gd name="T19" fmla="*/ 345 h 560"/>
              <a:gd name="T20" fmla="*/ 424 w 541"/>
              <a:gd name="T21" fmla="*/ 560 h 560"/>
              <a:gd name="T22" fmla="*/ 541 w 541"/>
              <a:gd name="T23" fmla="*/ 560 h 560"/>
              <a:gd name="T24" fmla="*/ 328 w 541"/>
              <a:gd name="T25" fmla="*/ 262 h 5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41" h="560">
                <a:moveTo>
                  <a:pt x="328" y="262"/>
                </a:moveTo>
                <a:lnTo>
                  <a:pt x="523" y="0"/>
                </a:lnTo>
                <a:lnTo>
                  <a:pt x="405" y="0"/>
                </a:lnTo>
                <a:lnTo>
                  <a:pt x="270" y="182"/>
                </a:lnTo>
                <a:lnTo>
                  <a:pt x="134" y="0"/>
                </a:lnTo>
                <a:lnTo>
                  <a:pt x="17" y="0"/>
                </a:lnTo>
                <a:lnTo>
                  <a:pt x="213" y="263"/>
                </a:lnTo>
                <a:lnTo>
                  <a:pt x="0" y="560"/>
                </a:lnTo>
                <a:lnTo>
                  <a:pt x="116" y="560"/>
                </a:lnTo>
                <a:lnTo>
                  <a:pt x="271" y="345"/>
                </a:lnTo>
                <a:lnTo>
                  <a:pt x="424" y="560"/>
                </a:lnTo>
                <a:lnTo>
                  <a:pt x="541" y="560"/>
                </a:lnTo>
                <a:lnTo>
                  <a:pt x="328" y="26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</a:pPr>
            <a:endParaRPr lang="ru-RU"/>
          </a:p>
        </p:txBody>
      </p:sp>
      <p:sp>
        <p:nvSpPr>
          <p:cNvPr id="50" name="Freeform 11">
            <a:extLst>
              <a:ext uri="{FF2B5EF4-FFF2-40B4-BE49-F238E27FC236}">
                <a16:creationId xmlns:a16="http://schemas.microsoft.com/office/drawing/2014/main" id="{D11B9626-CEB0-4884-8120-1F8172970267}"/>
              </a:ext>
            </a:extLst>
          </p:cNvPr>
          <p:cNvSpPr>
            <a:spLocks/>
          </p:cNvSpPr>
          <p:nvPr userDrawn="1"/>
        </p:nvSpPr>
        <p:spPr bwMode="auto">
          <a:xfrm>
            <a:off x="604101" y="271463"/>
            <a:ext cx="406344" cy="544734"/>
          </a:xfrm>
          <a:custGeom>
            <a:avLst/>
            <a:gdLst>
              <a:gd name="T0" fmla="*/ 535 w 3625"/>
              <a:gd name="T1" fmla="*/ 4303 h 4860"/>
              <a:gd name="T2" fmla="*/ 459 w 3625"/>
              <a:gd name="T3" fmla="*/ 4139 h 4860"/>
              <a:gd name="T4" fmla="*/ 435 w 3625"/>
              <a:gd name="T5" fmla="*/ 3604 h 4860"/>
              <a:gd name="T6" fmla="*/ 718 w 3625"/>
              <a:gd name="T7" fmla="*/ 3134 h 4860"/>
              <a:gd name="T8" fmla="*/ 3624 w 3625"/>
              <a:gd name="T9" fmla="*/ 518 h 4860"/>
              <a:gd name="T10" fmla="*/ 3624 w 3625"/>
              <a:gd name="T11" fmla="*/ 0 h 4860"/>
              <a:gd name="T12" fmla="*/ 461 w 3625"/>
              <a:gd name="T13" fmla="*/ 2848 h 4860"/>
              <a:gd name="T14" fmla="*/ 148 w 3625"/>
              <a:gd name="T15" fmla="*/ 3271 h 4860"/>
              <a:gd name="T16" fmla="*/ 36 w 3625"/>
              <a:gd name="T17" fmla="*/ 4016 h 4860"/>
              <a:gd name="T18" fmla="*/ 363 w 3625"/>
              <a:gd name="T19" fmla="*/ 4717 h 4860"/>
              <a:gd name="T20" fmla="*/ 363 w 3625"/>
              <a:gd name="T21" fmla="*/ 4717 h 4860"/>
              <a:gd name="T22" fmla="*/ 493 w 3625"/>
              <a:gd name="T23" fmla="*/ 4860 h 4860"/>
              <a:gd name="T24" fmla="*/ 3625 w 3625"/>
              <a:gd name="T25" fmla="*/ 2040 h 4860"/>
              <a:gd name="T26" fmla="*/ 3625 w 3625"/>
              <a:gd name="T27" fmla="*/ 1522 h 4860"/>
              <a:gd name="T28" fmla="*/ 535 w 3625"/>
              <a:gd name="T29" fmla="*/ 4303 h 4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625" h="4860">
                <a:moveTo>
                  <a:pt x="535" y="4303"/>
                </a:moveTo>
                <a:cubicBezTo>
                  <a:pt x="505" y="4250"/>
                  <a:pt x="479" y="4195"/>
                  <a:pt x="459" y="4139"/>
                </a:cubicBezTo>
                <a:cubicBezTo>
                  <a:pt x="399" y="3966"/>
                  <a:pt x="392" y="3780"/>
                  <a:pt x="435" y="3604"/>
                </a:cubicBezTo>
                <a:cubicBezTo>
                  <a:pt x="479" y="3428"/>
                  <a:pt x="573" y="3264"/>
                  <a:pt x="718" y="3134"/>
                </a:cubicBezTo>
                <a:cubicBezTo>
                  <a:pt x="3624" y="518"/>
                  <a:pt x="3624" y="518"/>
                  <a:pt x="3624" y="518"/>
                </a:cubicBezTo>
                <a:cubicBezTo>
                  <a:pt x="3624" y="0"/>
                  <a:pt x="3624" y="0"/>
                  <a:pt x="3624" y="0"/>
                </a:cubicBezTo>
                <a:cubicBezTo>
                  <a:pt x="461" y="2848"/>
                  <a:pt x="461" y="2848"/>
                  <a:pt x="461" y="2848"/>
                </a:cubicBezTo>
                <a:cubicBezTo>
                  <a:pt x="326" y="2970"/>
                  <a:pt x="220" y="3115"/>
                  <a:pt x="148" y="3271"/>
                </a:cubicBezTo>
                <a:cubicBezTo>
                  <a:pt x="38" y="3505"/>
                  <a:pt x="0" y="3764"/>
                  <a:pt x="36" y="4016"/>
                </a:cubicBezTo>
                <a:cubicBezTo>
                  <a:pt x="71" y="4268"/>
                  <a:pt x="180" y="4514"/>
                  <a:pt x="363" y="4717"/>
                </a:cubicBezTo>
                <a:cubicBezTo>
                  <a:pt x="363" y="4717"/>
                  <a:pt x="363" y="4717"/>
                  <a:pt x="363" y="4717"/>
                </a:cubicBezTo>
                <a:cubicBezTo>
                  <a:pt x="493" y="4860"/>
                  <a:pt x="493" y="4860"/>
                  <a:pt x="493" y="4860"/>
                </a:cubicBezTo>
                <a:cubicBezTo>
                  <a:pt x="3625" y="2040"/>
                  <a:pt x="3625" y="2040"/>
                  <a:pt x="3625" y="2040"/>
                </a:cubicBezTo>
                <a:cubicBezTo>
                  <a:pt x="3625" y="1522"/>
                  <a:pt x="3625" y="1522"/>
                  <a:pt x="3625" y="1522"/>
                </a:cubicBezTo>
                <a:lnTo>
                  <a:pt x="535" y="430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</a:pPr>
            <a:endParaRPr lang="ru-RU"/>
          </a:p>
        </p:txBody>
      </p:sp>
      <p:sp>
        <p:nvSpPr>
          <p:cNvPr id="51" name="Freeform 12">
            <a:extLst>
              <a:ext uri="{FF2B5EF4-FFF2-40B4-BE49-F238E27FC236}">
                <a16:creationId xmlns:a16="http://schemas.microsoft.com/office/drawing/2014/main" id="{A8CFCB7C-7156-4ACF-A024-680F775C404C}"/>
              </a:ext>
            </a:extLst>
          </p:cNvPr>
          <p:cNvSpPr>
            <a:spLocks/>
          </p:cNvSpPr>
          <p:nvPr userDrawn="1"/>
        </p:nvSpPr>
        <p:spPr bwMode="auto">
          <a:xfrm>
            <a:off x="787536" y="616508"/>
            <a:ext cx="221980" cy="199689"/>
          </a:xfrm>
          <a:custGeom>
            <a:avLst/>
            <a:gdLst>
              <a:gd name="T0" fmla="*/ 0 w 478"/>
              <a:gd name="T1" fmla="*/ 430 h 430"/>
              <a:gd name="T2" fmla="*/ 140 w 478"/>
              <a:gd name="T3" fmla="*/ 430 h 430"/>
              <a:gd name="T4" fmla="*/ 478 w 478"/>
              <a:gd name="T5" fmla="*/ 125 h 430"/>
              <a:gd name="T6" fmla="*/ 478 w 478"/>
              <a:gd name="T7" fmla="*/ 0 h 430"/>
              <a:gd name="T8" fmla="*/ 0 w 478"/>
              <a:gd name="T9" fmla="*/ 430 h 4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78" h="430">
                <a:moveTo>
                  <a:pt x="0" y="430"/>
                </a:moveTo>
                <a:lnTo>
                  <a:pt x="140" y="430"/>
                </a:lnTo>
                <a:lnTo>
                  <a:pt x="478" y="125"/>
                </a:lnTo>
                <a:lnTo>
                  <a:pt x="478" y="0"/>
                </a:lnTo>
                <a:lnTo>
                  <a:pt x="0" y="43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</a:pPr>
            <a:endParaRPr lang="ru-RU"/>
          </a:p>
        </p:txBody>
      </p:sp>
      <p:sp>
        <p:nvSpPr>
          <p:cNvPr id="57" name="Title 1">
            <a:extLst>
              <a:ext uri="{FF2B5EF4-FFF2-40B4-BE49-F238E27FC236}">
                <a16:creationId xmlns:a16="http://schemas.microsoft.com/office/drawing/2014/main" id="{F910E70E-7EF3-42D3-8EA5-2187DFED7788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450851" y="2660733"/>
            <a:ext cx="6747108" cy="2901869"/>
          </a:xfrm>
          <a:prstGeom prst="rect">
            <a:avLst/>
          </a:prstGeom>
          <a:effectLst/>
        </p:spPr>
        <p:txBody>
          <a:bodyPr wrap="square" lIns="0" tIns="0" rIns="0" bIns="0"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500">
                <a:solidFill>
                  <a:schemeClr val="bg1"/>
                </a:solidFill>
                <a:effectLst/>
              </a:defRPr>
            </a:lvl1pPr>
          </a:lstStyle>
          <a:p>
            <a:r>
              <a:rPr lang="ru-RU" dirty="0"/>
              <a:t>Заголовок презентации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92829075-C0A5-4F29-89A4-9244347885ED}"/>
              </a:ext>
            </a:extLst>
          </p:cNvPr>
          <p:cNvSpPr txBox="1">
            <a:spLocks/>
          </p:cNvSpPr>
          <p:nvPr userDrawn="1"/>
        </p:nvSpPr>
        <p:spPr>
          <a:xfrm>
            <a:off x="7439444" y="6104394"/>
            <a:ext cx="4303294" cy="215444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marL="0" lvl="0" algn="l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r>
              <a:rPr lang="ru-RU" sz="14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хнологии. Стратегии. Консалтинг. Аутсорсинг.</a:t>
            </a:r>
          </a:p>
        </p:txBody>
      </p:sp>
      <p:sp>
        <p:nvSpPr>
          <p:cNvPr id="72" name="Text Placeholder 46">
            <a:extLst>
              <a:ext uri="{FF2B5EF4-FFF2-40B4-BE49-F238E27FC236}">
                <a16:creationId xmlns:a16="http://schemas.microsoft.com/office/drawing/2014/main" id="{57D7415A-1117-4EF2-B32F-7FA747E0C3ED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50851" y="6104394"/>
            <a:ext cx="67471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lang="en-US" sz="1400" b="1" dirty="0" smtClean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lang="en-US" sz="1800" dirty="0" smtClean="0"/>
            </a:lvl2pPr>
            <a:lvl3pPr marL="0" indent="0">
              <a:spcBef>
                <a:spcPts val="0"/>
              </a:spcBef>
              <a:buFontTx/>
              <a:buNone/>
              <a:defRPr lang="en-US" sz="1800" dirty="0" smtClean="0"/>
            </a:lvl3pPr>
            <a:lvl4pPr marL="0" indent="0">
              <a:spcBef>
                <a:spcPts val="0"/>
              </a:spcBef>
              <a:buFontTx/>
              <a:buNone/>
              <a:defRPr lang="en-US" sz="1800" dirty="0" smtClean="0"/>
            </a:lvl4pPr>
            <a:lvl5pPr marL="0" indent="0">
              <a:spcBef>
                <a:spcPts val="0"/>
              </a:spcBef>
              <a:buFontTx/>
              <a:buNone/>
              <a:defRPr lang="ru-RU" sz="1800" dirty="0"/>
            </a:lvl5pPr>
          </a:lstStyle>
          <a:p>
            <a:pPr lvl="0"/>
            <a:r>
              <a:rPr lang="ru-RU" dirty="0"/>
              <a:t>Дата в формате ДД Месяц </a:t>
            </a:r>
            <a:r>
              <a:rPr lang="ru-RU" dirty="0" err="1"/>
              <a:t>ГГГГг</a:t>
            </a:r>
            <a:r>
              <a:rPr lang="ru-RU" dirty="0"/>
              <a:t>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C006631-D854-4AB0-8DCE-7768E1A02610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50851" y="5711764"/>
            <a:ext cx="6747108" cy="2492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Тип документа</a:t>
            </a:r>
          </a:p>
        </p:txBody>
      </p:sp>
      <p:sp>
        <p:nvSpPr>
          <p:cNvPr id="70" name="Slide Number Placeholder 5">
            <a:extLst>
              <a:ext uri="{FF2B5EF4-FFF2-40B4-BE49-F238E27FC236}">
                <a16:creationId xmlns:a16="http://schemas.microsoft.com/office/drawing/2014/main" id="{AE58F953-1384-4D3B-8641-692B4FCBD393}"/>
              </a:ext>
            </a:extLst>
          </p:cNvPr>
          <p:cNvSpPr txBox="1">
            <a:spLocks/>
          </p:cNvSpPr>
          <p:nvPr userDrawn="1"/>
        </p:nvSpPr>
        <p:spPr>
          <a:xfrm>
            <a:off x="450850" y="6588000"/>
            <a:ext cx="28800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0"/>
              </a:spcBef>
            </a:pPr>
            <a:r>
              <a:rPr lang="en-US" b="1" dirty="0">
                <a:solidFill>
                  <a:schemeClr val="bg1"/>
                </a:solidFill>
              </a:rPr>
              <a:t>AXENIX </a:t>
            </a:r>
            <a:r>
              <a:rPr lang="ru-RU" dirty="0">
                <a:solidFill>
                  <a:schemeClr val="bg1"/>
                </a:solidFill>
              </a:rPr>
              <a:t>© ООО «АксТим»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199E7FC-DFDC-4DE4-9D75-E5F35AEF7005}"/>
              </a:ext>
            </a:extLst>
          </p:cNvPr>
          <p:cNvGrpSpPr/>
          <p:nvPr userDrawn="1"/>
        </p:nvGrpSpPr>
        <p:grpSpPr>
          <a:xfrm>
            <a:off x="7473950" y="271463"/>
            <a:ext cx="4268788" cy="5702300"/>
            <a:chOff x="7465072" y="258763"/>
            <a:chExt cx="4268788" cy="5702300"/>
          </a:xfrm>
        </p:grpSpPr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FFF667EB-6BC4-4981-8EE8-B48AD67E01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87535" y="3862388"/>
              <a:ext cx="2346325" cy="2098675"/>
            </a:xfrm>
            <a:custGeom>
              <a:avLst/>
              <a:gdLst>
                <a:gd name="T0" fmla="*/ 1478 w 1478"/>
                <a:gd name="T1" fmla="*/ 383 h 1322"/>
                <a:gd name="T2" fmla="*/ 1478 w 1478"/>
                <a:gd name="T3" fmla="*/ 0 h 1322"/>
                <a:gd name="T4" fmla="*/ 0 w 1478"/>
                <a:gd name="T5" fmla="*/ 1322 h 1322"/>
                <a:gd name="T6" fmla="*/ 427 w 1478"/>
                <a:gd name="T7" fmla="*/ 1322 h 1322"/>
                <a:gd name="T8" fmla="*/ 1478 w 1478"/>
                <a:gd name="T9" fmla="*/ 383 h 1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8" h="1322">
                  <a:moveTo>
                    <a:pt x="1478" y="383"/>
                  </a:moveTo>
                  <a:lnTo>
                    <a:pt x="1478" y="0"/>
                  </a:lnTo>
                  <a:lnTo>
                    <a:pt x="0" y="1322"/>
                  </a:lnTo>
                  <a:lnTo>
                    <a:pt x="427" y="1322"/>
                  </a:lnTo>
                  <a:lnTo>
                    <a:pt x="1478" y="383"/>
                  </a:lnTo>
                  <a:close/>
                </a:path>
              </a:pathLst>
            </a:custGeom>
            <a:noFill/>
            <a:ln w="9525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ru-RU"/>
            </a:p>
          </p:txBody>
        </p:sp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B55C5117-7681-41F9-9FA6-C56179099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65072" y="258763"/>
              <a:ext cx="4268788" cy="5692775"/>
            </a:xfrm>
            <a:custGeom>
              <a:avLst/>
              <a:gdLst>
                <a:gd name="T0" fmla="*/ 225 w 1535"/>
                <a:gd name="T1" fmla="*/ 1812 h 2048"/>
                <a:gd name="T2" fmla="*/ 194 w 1535"/>
                <a:gd name="T3" fmla="*/ 1743 h 2048"/>
                <a:gd name="T4" fmla="*/ 184 w 1535"/>
                <a:gd name="T5" fmla="*/ 1516 h 2048"/>
                <a:gd name="T6" fmla="*/ 305 w 1535"/>
                <a:gd name="T7" fmla="*/ 1318 h 2048"/>
                <a:gd name="T8" fmla="*/ 1535 w 1535"/>
                <a:gd name="T9" fmla="*/ 219 h 2048"/>
                <a:gd name="T10" fmla="*/ 1535 w 1535"/>
                <a:gd name="T11" fmla="*/ 0 h 2048"/>
                <a:gd name="T12" fmla="*/ 197 w 1535"/>
                <a:gd name="T13" fmla="*/ 1197 h 2048"/>
                <a:gd name="T14" fmla="*/ 63 w 1535"/>
                <a:gd name="T15" fmla="*/ 1375 h 2048"/>
                <a:gd name="T16" fmla="*/ 15 w 1535"/>
                <a:gd name="T17" fmla="*/ 1690 h 2048"/>
                <a:gd name="T18" fmla="*/ 152 w 1535"/>
                <a:gd name="T19" fmla="*/ 1987 h 2048"/>
                <a:gd name="T20" fmla="*/ 207 w 1535"/>
                <a:gd name="T21" fmla="*/ 2048 h 2048"/>
                <a:gd name="T22" fmla="*/ 1535 w 1535"/>
                <a:gd name="T23" fmla="*/ 861 h 2048"/>
                <a:gd name="T24" fmla="*/ 1535 w 1535"/>
                <a:gd name="T25" fmla="*/ 642 h 2048"/>
                <a:gd name="T26" fmla="*/ 225 w 1535"/>
                <a:gd name="T27" fmla="*/ 1812 h 20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35" h="2048">
                  <a:moveTo>
                    <a:pt x="225" y="1812"/>
                  </a:moveTo>
                  <a:cubicBezTo>
                    <a:pt x="213" y="1790"/>
                    <a:pt x="202" y="1767"/>
                    <a:pt x="194" y="1743"/>
                  </a:cubicBezTo>
                  <a:cubicBezTo>
                    <a:pt x="169" y="1670"/>
                    <a:pt x="166" y="1591"/>
                    <a:pt x="184" y="1516"/>
                  </a:cubicBezTo>
                  <a:cubicBezTo>
                    <a:pt x="203" y="1442"/>
                    <a:pt x="243" y="1373"/>
                    <a:pt x="305" y="1318"/>
                  </a:cubicBezTo>
                  <a:cubicBezTo>
                    <a:pt x="1535" y="219"/>
                    <a:pt x="1535" y="219"/>
                    <a:pt x="1535" y="219"/>
                  </a:cubicBezTo>
                  <a:cubicBezTo>
                    <a:pt x="1535" y="0"/>
                    <a:pt x="1535" y="0"/>
                    <a:pt x="1535" y="0"/>
                  </a:cubicBezTo>
                  <a:cubicBezTo>
                    <a:pt x="197" y="1197"/>
                    <a:pt x="197" y="1197"/>
                    <a:pt x="197" y="1197"/>
                  </a:cubicBezTo>
                  <a:cubicBezTo>
                    <a:pt x="139" y="1248"/>
                    <a:pt x="94" y="1309"/>
                    <a:pt x="63" y="1375"/>
                  </a:cubicBezTo>
                  <a:cubicBezTo>
                    <a:pt x="16" y="1474"/>
                    <a:pt x="0" y="1584"/>
                    <a:pt x="15" y="1690"/>
                  </a:cubicBezTo>
                  <a:cubicBezTo>
                    <a:pt x="29" y="1797"/>
                    <a:pt x="75" y="1901"/>
                    <a:pt x="152" y="1987"/>
                  </a:cubicBezTo>
                  <a:cubicBezTo>
                    <a:pt x="207" y="2048"/>
                    <a:pt x="207" y="2048"/>
                    <a:pt x="207" y="2048"/>
                  </a:cubicBezTo>
                  <a:cubicBezTo>
                    <a:pt x="1535" y="861"/>
                    <a:pt x="1535" y="861"/>
                    <a:pt x="1535" y="861"/>
                  </a:cubicBezTo>
                  <a:cubicBezTo>
                    <a:pt x="1535" y="642"/>
                    <a:pt x="1535" y="642"/>
                    <a:pt x="1535" y="642"/>
                  </a:cubicBezTo>
                  <a:lnTo>
                    <a:pt x="225" y="1812"/>
                  </a:lnTo>
                  <a:close/>
                </a:path>
              </a:pathLst>
            </a:custGeom>
            <a:noFill/>
            <a:ln w="9525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12935074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848ED4-610A-4A7E-AC68-B643F3854C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5544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5" name="Слайд think-cell" r:id="rId5" imgW="395" imgH="394" progId="TCLayout.ActiveDocument.1">
                  <p:embed/>
                </p:oleObj>
              </mc:Choice>
              <mc:Fallback>
                <p:oleObj name="Слайд think-cell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848ED4-610A-4A7E-AC68-B643F3854C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BB022504-FD7A-4972-9F4D-66E2331E6B65}"/>
              </a:ext>
            </a:extLst>
          </p:cNvPr>
          <p:cNvSpPr/>
          <p:nvPr userDrawn="1"/>
        </p:nvSpPr>
        <p:spPr bwMode="gray">
          <a:xfrm>
            <a:off x="0" y="0"/>
            <a:ext cx="3974038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spcBef>
                <a:spcPts val="0"/>
              </a:spcBef>
              <a:spcAft>
                <a:spcPts val="600"/>
              </a:spcAft>
            </a:pPr>
            <a:endParaRPr lang="ru-RU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7D387F2F-2329-4113-AE63-60B7CE9BC1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852" y="1438275"/>
            <a:ext cx="3163891" cy="923330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30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46" name="Slide Number">
            <a:extLst>
              <a:ext uri="{FF2B5EF4-FFF2-40B4-BE49-F238E27FC236}">
                <a16:creationId xmlns:a16="http://schemas.microsoft.com/office/drawing/2014/main" id="{9DD2F828-9251-44C9-A72F-77BA3D4FED70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646376" y="6588000"/>
            <a:ext cx="1095624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60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600"/>
                </a:spcAft>
                <a:defRPr/>
              </a:pPr>
              <a:t>‹#›</a:t>
            </a:fld>
            <a:endParaRPr lang="ru-RU" sz="8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507B94F-E1D9-4751-8CB7-4591BA13DD63}"/>
              </a:ext>
            </a:extLst>
          </p:cNvPr>
          <p:cNvSpPr txBox="1">
            <a:spLocks/>
          </p:cNvSpPr>
          <p:nvPr userDrawn="1"/>
        </p:nvSpPr>
        <p:spPr>
          <a:xfrm>
            <a:off x="450850" y="6588000"/>
            <a:ext cx="28800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0"/>
              </a:spcBef>
            </a:pPr>
            <a:r>
              <a:rPr lang="en-US" b="1">
                <a:solidFill>
                  <a:schemeClr val="bg1"/>
                </a:solidFill>
              </a:rPr>
              <a:t>AXENIX </a:t>
            </a:r>
            <a:r>
              <a:rPr lang="ru-RU" dirty="0">
                <a:solidFill>
                  <a:schemeClr val="bg1"/>
                </a:solidFill>
              </a:rPr>
              <a:t>© ООО «АксТим»</a:t>
            </a:r>
          </a:p>
        </p:txBody>
      </p:sp>
    </p:spTree>
    <p:extLst>
      <p:ext uri="{BB962C8B-B14F-4D97-AF65-F5344CB8AC3E}">
        <p14:creationId xmlns:p14="http://schemas.microsoft.com/office/powerpoint/2010/main" val="4139611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ipplet 1-1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F38CDEAC-E309-4D28-8823-D7EEB2884CC6}"/>
              </a:ext>
            </a:extLst>
          </p:cNvPr>
          <p:cNvSpPr>
            <a:spLocks/>
          </p:cNvSpPr>
          <p:nvPr userDrawn="1"/>
        </p:nvSpPr>
        <p:spPr bwMode="gray">
          <a:xfrm>
            <a:off x="4154116" y="0"/>
            <a:ext cx="3883768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l">
              <a:spcBef>
                <a:spcPts val="0"/>
              </a:spcBef>
              <a:spcAft>
                <a:spcPts val="600"/>
              </a:spcAft>
            </a:pPr>
            <a:endParaRPr lang="ru-RU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2E67736-2CFF-411B-A9E2-8C6A8C18AE13}"/>
              </a:ext>
            </a:extLst>
          </p:cNvPr>
          <p:cNvSpPr/>
          <p:nvPr userDrawn="1"/>
        </p:nvSpPr>
        <p:spPr bwMode="gray">
          <a:xfrm>
            <a:off x="8038483" y="0"/>
            <a:ext cx="4153517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l">
              <a:spcBef>
                <a:spcPts val="0"/>
              </a:spcBef>
              <a:spcAft>
                <a:spcPts val="600"/>
              </a:spcAft>
            </a:pPr>
            <a:endParaRPr lang="ru-RU" dirty="0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5A1F0855-F439-4289-A4E8-7ECBEBD8AA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24443" y="271463"/>
            <a:ext cx="3342519" cy="923330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ru-RU" sz="3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>
              <a:defRPr lang="en-US" sz="1800" smtClean="0"/>
            </a:lvl2pPr>
            <a:lvl3pPr>
              <a:defRPr lang="en-US" sz="18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r>
              <a:rPr lang="ru-RU" dirty="0"/>
              <a:t>Второй заголовок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7D387F2F-2329-4113-AE63-60B7CE9BC1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852" y="271463"/>
            <a:ext cx="3342519" cy="923330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Первый заголовок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38067E1E-5352-4A05-AFAC-51B8ECB9624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8398035" y="271463"/>
            <a:ext cx="3342519" cy="923330"/>
          </a:xfrm>
          <a:prstGeom prst="rect">
            <a:avLst/>
          </a:prstGeom>
        </p:spPr>
        <p:txBody>
          <a:bodyPr wrap="square" lIns="0" tIns="0" rIns="396000" bIns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ru-RU" sz="3000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US" sz="1800" smtClean="0"/>
            </a:lvl2pPr>
            <a:lvl3pPr>
              <a:defRPr lang="en-US" sz="18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r>
              <a:rPr lang="ru-RU" dirty="0"/>
              <a:t>Третий заголовок</a:t>
            </a:r>
          </a:p>
        </p:txBody>
      </p:sp>
      <p:sp>
        <p:nvSpPr>
          <p:cNvPr id="46" name="Slide Number">
            <a:extLst>
              <a:ext uri="{FF2B5EF4-FFF2-40B4-BE49-F238E27FC236}">
                <a16:creationId xmlns:a16="http://schemas.microsoft.com/office/drawing/2014/main" id="{9DD2F828-9251-44C9-A72F-77BA3D4FED70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black">
          <a:xfrm>
            <a:off x="10646376" y="6588000"/>
            <a:ext cx="1095624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60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600"/>
                </a:spcAft>
                <a:defRPr/>
              </a:pPr>
              <a:t>‹#›</a:t>
            </a:fld>
            <a:endParaRPr lang="ru-RU" sz="800" b="0" dirty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42AF837-054D-4313-B692-0F2567464CAC}"/>
              </a:ext>
            </a:extLst>
          </p:cNvPr>
          <p:cNvGrpSpPr/>
          <p:nvPr userDrawn="1"/>
        </p:nvGrpSpPr>
        <p:grpSpPr>
          <a:xfrm>
            <a:off x="11480085" y="271463"/>
            <a:ext cx="262653" cy="352106"/>
            <a:chOff x="693246" y="360000"/>
            <a:chExt cx="406344" cy="544734"/>
          </a:xfrm>
          <a:solidFill>
            <a:srgbClr val="FFFFFF"/>
          </a:solidFill>
        </p:grpSpPr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BB6721B2-0588-4266-A672-C2141CF373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3246" y="360000"/>
              <a:ext cx="406344" cy="544734"/>
            </a:xfrm>
            <a:custGeom>
              <a:avLst/>
              <a:gdLst>
                <a:gd name="T0" fmla="*/ 535 w 3625"/>
                <a:gd name="T1" fmla="*/ 4303 h 4860"/>
                <a:gd name="T2" fmla="*/ 459 w 3625"/>
                <a:gd name="T3" fmla="*/ 4139 h 4860"/>
                <a:gd name="T4" fmla="*/ 435 w 3625"/>
                <a:gd name="T5" fmla="*/ 3604 h 4860"/>
                <a:gd name="T6" fmla="*/ 718 w 3625"/>
                <a:gd name="T7" fmla="*/ 3134 h 4860"/>
                <a:gd name="T8" fmla="*/ 3624 w 3625"/>
                <a:gd name="T9" fmla="*/ 518 h 4860"/>
                <a:gd name="T10" fmla="*/ 3624 w 3625"/>
                <a:gd name="T11" fmla="*/ 0 h 4860"/>
                <a:gd name="T12" fmla="*/ 461 w 3625"/>
                <a:gd name="T13" fmla="*/ 2848 h 4860"/>
                <a:gd name="T14" fmla="*/ 148 w 3625"/>
                <a:gd name="T15" fmla="*/ 3271 h 4860"/>
                <a:gd name="T16" fmla="*/ 36 w 3625"/>
                <a:gd name="T17" fmla="*/ 4016 h 4860"/>
                <a:gd name="T18" fmla="*/ 363 w 3625"/>
                <a:gd name="T19" fmla="*/ 4717 h 4860"/>
                <a:gd name="T20" fmla="*/ 363 w 3625"/>
                <a:gd name="T21" fmla="*/ 4717 h 4860"/>
                <a:gd name="T22" fmla="*/ 493 w 3625"/>
                <a:gd name="T23" fmla="*/ 4860 h 4860"/>
                <a:gd name="T24" fmla="*/ 3625 w 3625"/>
                <a:gd name="T25" fmla="*/ 2040 h 4860"/>
                <a:gd name="T26" fmla="*/ 3625 w 3625"/>
                <a:gd name="T27" fmla="*/ 1522 h 4860"/>
                <a:gd name="T28" fmla="*/ 535 w 3625"/>
                <a:gd name="T29" fmla="*/ 4303 h 4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25" h="4860">
                  <a:moveTo>
                    <a:pt x="535" y="4303"/>
                  </a:moveTo>
                  <a:cubicBezTo>
                    <a:pt x="505" y="4250"/>
                    <a:pt x="479" y="4195"/>
                    <a:pt x="459" y="4139"/>
                  </a:cubicBezTo>
                  <a:cubicBezTo>
                    <a:pt x="399" y="3966"/>
                    <a:pt x="392" y="3780"/>
                    <a:pt x="435" y="3604"/>
                  </a:cubicBezTo>
                  <a:cubicBezTo>
                    <a:pt x="479" y="3428"/>
                    <a:pt x="573" y="3264"/>
                    <a:pt x="718" y="3134"/>
                  </a:cubicBezTo>
                  <a:cubicBezTo>
                    <a:pt x="3624" y="518"/>
                    <a:pt x="3624" y="518"/>
                    <a:pt x="3624" y="518"/>
                  </a:cubicBezTo>
                  <a:cubicBezTo>
                    <a:pt x="3624" y="0"/>
                    <a:pt x="3624" y="0"/>
                    <a:pt x="3624" y="0"/>
                  </a:cubicBezTo>
                  <a:cubicBezTo>
                    <a:pt x="461" y="2848"/>
                    <a:pt x="461" y="2848"/>
                    <a:pt x="461" y="2848"/>
                  </a:cubicBezTo>
                  <a:cubicBezTo>
                    <a:pt x="326" y="2970"/>
                    <a:pt x="220" y="3115"/>
                    <a:pt x="148" y="3271"/>
                  </a:cubicBezTo>
                  <a:cubicBezTo>
                    <a:pt x="38" y="3505"/>
                    <a:pt x="0" y="3764"/>
                    <a:pt x="36" y="4016"/>
                  </a:cubicBezTo>
                  <a:cubicBezTo>
                    <a:pt x="71" y="4268"/>
                    <a:pt x="180" y="4514"/>
                    <a:pt x="363" y="4717"/>
                  </a:cubicBezTo>
                  <a:cubicBezTo>
                    <a:pt x="363" y="4717"/>
                    <a:pt x="363" y="4717"/>
                    <a:pt x="363" y="4717"/>
                  </a:cubicBezTo>
                  <a:cubicBezTo>
                    <a:pt x="493" y="4860"/>
                    <a:pt x="493" y="4860"/>
                    <a:pt x="493" y="4860"/>
                  </a:cubicBezTo>
                  <a:cubicBezTo>
                    <a:pt x="3625" y="2040"/>
                    <a:pt x="3625" y="2040"/>
                    <a:pt x="3625" y="2040"/>
                  </a:cubicBezTo>
                  <a:cubicBezTo>
                    <a:pt x="3625" y="1522"/>
                    <a:pt x="3625" y="1522"/>
                    <a:pt x="3625" y="1522"/>
                  </a:cubicBezTo>
                  <a:lnTo>
                    <a:pt x="535" y="43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8" name="Freeform 12">
              <a:extLst>
                <a:ext uri="{FF2B5EF4-FFF2-40B4-BE49-F238E27FC236}">
                  <a16:creationId xmlns:a16="http://schemas.microsoft.com/office/drawing/2014/main" id="{1EC2DD7F-BB3B-4446-8291-68B841F24F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6681" y="705045"/>
              <a:ext cx="221980" cy="199689"/>
            </a:xfrm>
            <a:custGeom>
              <a:avLst/>
              <a:gdLst>
                <a:gd name="T0" fmla="*/ 0 w 478"/>
                <a:gd name="T1" fmla="*/ 430 h 430"/>
                <a:gd name="T2" fmla="*/ 140 w 478"/>
                <a:gd name="T3" fmla="*/ 430 h 430"/>
                <a:gd name="T4" fmla="*/ 478 w 478"/>
                <a:gd name="T5" fmla="*/ 125 h 430"/>
                <a:gd name="T6" fmla="*/ 478 w 478"/>
                <a:gd name="T7" fmla="*/ 0 h 430"/>
                <a:gd name="T8" fmla="*/ 0 w 478"/>
                <a:gd name="T9" fmla="*/ 43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8" h="430">
                  <a:moveTo>
                    <a:pt x="0" y="430"/>
                  </a:moveTo>
                  <a:lnTo>
                    <a:pt x="140" y="430"/>
                  </a:lnTo>
                  <a:lnTo>
                    <a:pt x="478" y="125"/>
                  </a:lnTo>
                  <a:lnTo>
                    <a:pt x="478" y="0"/>
                  </a:lnTo>
                  <a:lnTo>
                    <a:pt x="0" y="4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ru-RU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754171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E5AB569-4196-43CD-AB65-2918804EFCB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tlCol="0" anchor="ctr">
            <a:noAutofit/>
          </a:bodyPr>
          <a:lstStyle/>
          <a:p>
            <a:pPr algn="ctr"/>
            <a:endParaRPr lang="ru-RU" b="1" kern="0" dirty="0">
              <a:solidFill>
                <a:prstClr val="white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9A5945F8-9D63-4867-90D4-12E61C8832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851" y="271463"/>
            <a:ext cx="11290300" cy="6048375"/>
          </a:xfrm>
          <a:prstGeom prst="rect">
            <a:avLst/>
          </a:prstGeom>
        </p:spPr>
        <p:txBody>
          <a:bodyPr wrap="square" lIns="0" tIns="0" rIns="0" bIns="0" anchor="b" anchorCtr="0"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880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Ключевое утверждение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F6C8233-AC56-4322-B649-0C9A6C4694D3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black">
          <a:xfrm>
            <a:off x="10646376" y="6588000"/>
            <a:ext cx="1095624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063867F-8C45-4D77-9044-63656BD8A0BC}"/>
              </a:ext>
            </a:extLst>
          </p:cNvPr>
          <p:cNvGrpSpPr/>
          <p:nvPr userDrawn="1"/>
        </p:nvGrpSpPr>
        <p:grpSpPr>
          <a:xfrm>
            <a:off x="11480085" y="271463"/>
            <a:ext cx="262653" cy="352106"/>
            <a:chOff x="693246" y="360000"/>
            <a:chExt cx="406344" cy="544734"/>
          </a:xfrm>
          <a:solidFill>
            <a:srgbClr val="F05626"/>
          </a:solidFill>
        </p:grpSpPr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AABF4FFE-E503-4ABA-A426-06244FFF75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3246" y="360000"/>
              <a:ext cx="406344" cy="544734"/>
            </a:xfrm>
            <a:custGeom>
              <a:avLst/>
              <a:gdLst>
                <a:gd name="T0" fmla="*/ 535 w 3625"/>
                <a:gd name="T1" fmla="*/ 4303 h 4860"/>
                <a:gd name="T2" fmla="*/ 459 w 3625"/>
                <a:gd name="T3" fmla="*/ 4139 h 4860"/>
                <a:gd name="T4" fmla="*/ 435 w 3625"/>
                <a:gd name="T5" fmla="*/ 3604 h 4860"/>
                <a:gd name="T6" fmla="*/ 718 w 3625"/>
                <a:gd name="T7" fmla="*/ 3134 h 4860"/>
                <a:gd name="T8" fmla="*/ 3624 w 3625"/>
                <a:gd name="T9" fmla="*/ 518 h 4860"/>
                <a:gd name="T10" fmla="*/ 3624 w 3625"/>
                <a:gd name="T11" fmla="*/ 0 h 4860"/>
                <a:gd name="T12" fmla="*/ 461 w 3625"/>
                <a:gd name="T13" fmla="*/ 2848 h 4860"/>
                <a:gd name="T14" fmla="*/ 148 w 3625"/>
                <a:gd name="T15" fmla="*/ 3271 h 4860"/>
                <a:gd name="T16" fmla="*/ 36 w 3625"/>
                <a:gd name="T17" fmla="*/ 4016 h 4860"/>
                <a:gd name="T18" fmla="*/ 363 w 3625"/>
                <a:gd name="T19" fmla="*/ 4717 h 4860"/>
                <a:gd name="T20" fmla="*/ 363 w 3625"/>
                <a:gd name="T21" fmla="*/ 4717 h 4860"/>
                <a:gd name="T22" fmla="*/ 493 w 3625"/>
                <a:gd name="T23" fmla="*/ 4860 h 4860"/>
                <a:gd name="T24" fmla="*/ 3625 w 3625"/>
                <a:gd name="T25" fmla="*/ 2040 h 4860"/>
                <a:gd name="T26" fmla="*/ 3625 w 3625"/>
                <a:gd name="T27" fmla="*/ 1522 h 4860"/>
                <a:gd name="T28" fmla="*/ 535 w 3625"/>
                <a:gd name="T29" fmla="*/ 4303 h 4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25" h="4860">
                  <a:moveTo>
                    <a:pt x="535" y="4303"/>
                  </a:moveTo>
                  <a:cubicBezTo>
                    <a:pt x="505" y="4250"/>
                    <a:pt x="479" y="4195"/>
                    <a:pt x="459" y="4139"/>
                  </a:cubicBezTo>
                  <a:cubicBezTo>
                    <a:pt x="399" y="3966"/>
                    <a:pt x="392" y="3780"/>
                    <a:pt x="435" y="3604"/>
                  </a:cubicBezTo>
                  <a:cubicBezTo>
                    <a:pt x="479" y="3428"/>
                    <a:pt x="573" y="3264"/>
                    <a:pt x="718" y="3134"/>
                  </a:cubicBezTo>
                  <a:cubicBezTo>
                    <a:pt x="3624" y="518"/>
                    <a:pt x="3624" y="518"/>
                    <a:pt x="3624" y="518"/>
                  </a:cubicBezTo>
                  <a:cubicBezTo>
                    <a:pt x="3624" y="0"/>
                    <a:pt x="3624" y="0"/>
                    <a:pt x="3624" y="0"/>
                  </a:cubicBezTo>
                  <a:cubicBezTo>
                    <a:pt x="461" y="2848"/>
                    <a:pt x="461" y="2848"/>
                    <a:pt x="461" y="2848"/>
                  </a:cubicBezTo>
                  <a:cubicBezTo>
                    <a:pt x="326" y="2970"/>
                    <a:pt x="220" y="3115"/>
                    <a:pt x="148" y="3271"/>
                  </a:cubicBezTo>
                  <a:cubicBezTo>
                    <a:pt x="38" y="3505"/>
                    <a:pt x="0" y="3764"/>
                    <a:pt x="36" y="4016"/>
                  </a:cubicBezTo>
                  <a:cubicBezTo>
                    <a:pt x="71" y="4268"/>
                    <a:pt x="180" y="4514"/>
                    <a:pt x="363" y="4717"/>
                  </a:cubicBezTo>
                  <a:cubicBezTo>
                    <a:pt x="363" y="4717"/>
                    <a:pt x="363" y="4717"/>
                    <a:pt x="363" y="4717"/>
                  </a:cubicBezTo>
                  <a:cubicBezTo>
                    <a:pt x="493" y="4860"/>
                    <a:pt x="493" y="4860"/>
                    <a:pt x="493" y="4860"/>
                  </a:cubicBezTo>
                  <a:cubicBezTo>
                    <a:pt x="3625" y="2040"/>
                    <a:pt x="3625" y="2040"/>
                    <a:pt x="3625" y="2040"/>
                  </a:cubicBezTo>
                  <a:cubicBezTo>
                    <a:pt x="3625" y="1522"/>
                    <a:pt x="3625" y="1522"/>
                    <a:pt x="3625" y="1522"/>
                  </a:cubicBezTo>
                  <a:lnTo>
                    <a:pt x="535" y="4303"/>
                  </a:lnTo>
                  <a:close/>
                </a:path>
              </a:pathLst>
            </a:custGeom>
            <a:solidFill>
              <a:srgbClr val="F370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ru-RU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9B460D85-6DCB-4B07-91B8-FEB4B9FA6E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6681" y="705045"/>
              <a:ext cx="221980" cy="199689"/>
            </a:xfrm>
            <a:custGeom>
              <a:avLst/>
              <a:gdLst>
                <a:gd name="T0" fmla="*/ 0 w 478"/>
                <a:gd name="T1" fmla="*/ 430 h 430"/>
                <a:gd name="T2" fmla="*/ 140 w 478"/>
                <a:gd name="T3" fmla="*/ 430 h 430"/>
                <a:gd name="T4" fmla="*/ 478 w 478"/>
                <a:gd name="T5" fmla="*/ 125 h 430"/>
                <a:gd name="T6" fmla="*/ 478 w 478"/>
                <a:gd name="T7" fmla="*/ 0 h 430"/>
                <a:gd name="T8" fmla="*/ 0 w 478"/>
                <a:gd name="T9" fmla="*/ 43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8" h="430">
                  <a:moveTo>
                    <a:pt x="0" y="430"/>
                  </a:moveTo>
                  <a:lnTo>
                    <a:pt x="140" y="430"/>
                  </a:lnTo>
                  <a:lnTo>
                    <a:pt x="478" y="125"/>
                  </a:lnTo>
                  <a:lnTo>
                    <a:pt x="478" y="0"/>
                  </a:lnTo>
                  <a:lnTo>
                    <a:pt x="0" y="430"/>
                  </a:lnTo>
                  <a:close/>
                </a:path>
              </a:pathLst>
            </a:custGeom>
            <a:solidFill>
              <a:srgbClr val="F370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ru-RU"/>
            </a:p>
          </p:txBody>
        </p:sp>
      </p:grp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B38FCF42-A699-4AF5-83C7-7332BD91A623}"/>
              </a:ext>
            </a:extLst>
          </p:cNvPr>
          <p:cNvSpPr txBox="1">
            <a:spLocks/>
          </p:cNvSpPr>
          <p:nvPr userDrawn="1"/>
        </p:nvSpPr>
        <p:spPr>
          <a:xfrm>
            <a:off x="450850" y="6588000"/>
            <a:ext cx="28800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0"/>
              </a:spcBef>
            </a:pPr>
            <a:r>
              <a:rPr lang="en-US" b="1" dirty="0">
                <a:solidFill>
                  <a:schemeClr val="tx1"/>
                </a:solidFill>
              </a:rPr>
              <a:t>AXENIX </a:t>
            </a:r>
            <a:r>
              <a:rPr lang="ru-RU" dirty="0">
                <a:solidFill>
                  <a:schemeClr val="tx1"/>
                </a:solidFill>
              </a:rPr>
              <a:t>© ООО «АксТим»</a:t>
            </a:r>
          </a:p>
        </p:txBody>
      </p:sp>
    </p:spTree>
    <p:extLst>
      <p:ext uri="{BB962C8B-B14F-4D97-AF65-F5344CB8AC3E}">
        <p14:creationId xmlns:p14="http://schemas.microsoft.com/office/powerpoint/2010/main" val="34959885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AC8069B-D841-475B-9013-376E887F5B46}"/>
              </a:ext>
            </a:extLst>
          </p:cNvPr>
          <p:cNvSpPr/>
          <p:nvPr userDrawn="1"/>
        </p:nvSpPr>
        <p:spPr>
          <a:xfrm>
            <a:off x="0" y="0"/>
            <a:ext cx="12192000" cy="6499225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tlCol="0" anchor="ctr">
            <a:noAutofit/>
          </a:bodyPr>
          <a:lstStyle/>
          <a:p>
            <a:pPr algn="ctr"/>
            <a:endParaRPr lang="ru-RU" b="1" kern="0" dirty="0">
              <a:solidFill>
                <a:prstClr val="white"/>
              </a:solidFill>
            </a:endParaRPr>
          </a:p>
        </p:txBody>
      </p:sp>
      <p:sp>
        <p:nvSpPr>
          <p:cNvPr id="2" name="Slide Number">
            <a:extLst>
              <a:ext uri="{FF2B5EF4-FFF2-40B4-BE49-F238E27FC236}">
                <a16:creationId xmlns:a16="http://schemas.microsoft.com/office/drawing/2014/main" id="{E107F159-08D9-4D9E-88B5-0F1CA669FB40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black">
          <a:xfrm>
            <a:off x="10646376" y="6588000"/>
            <a:ext cx="1095624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060381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hite">
    <p:bg>
      <p:bgPr>
        <a:gradFill>
          <a:gsLst>
            <a:gs pos="52000">
              <a:schemeClr val="bg1">
                <a:alpha val="30000"/>
              </a:schemeClr>
            </a:gs>
            <a:gs pos="0">
              <a:schemeClr val="bg1">
                <a:alpha val="0"/>
              </a:schemeClr>
            </a:gs>
            <a:gs pos="100000">
              <a:schemeClr val="bg1">
                <a:alpha val="0"/>
              </a:schemeClr>
            </a:gs>
          </a:gsLst>
          <a:path path="shap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Freeform 5">
            <a:extLst>
              <a:ext uri="{FF2B5EF4-FFF2-40B4-BE49-F238E27FC236}">
                <a16:creationId xmlns:a16="http://schemas.microsoft.com/office/drawing/2014/main" id="{2A8A131B-379E-4299-A082-FB5CB1A67875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50851" y="876568"/>
            <a:ext cx="262382" cy="274921"/>
          </a:xfrm>
          <a:custGeom>
            <a:avLst/>
            <a:gdLst>
              <a:gd name="T0" fmla="*/ 1914 w 2342"/>
              <a:gd name="T1" fmla="*/ 297 h 2452"/>
              <a:gd name="T2" fmla="*/ 1714 w 2342"/>
              <a:gd name="T3" fmla="*/ 134 h 2452"/>
              <a:gd name="T4" fmla="*/ 1172 w 2342"/>
              <a:gd name="T5" fmla="*/ 0 h 2452"/>
              <a:gd name="T6" fmla="*/ 342 w 2342"/>
              <a:gd name="T7" fmla="*/ 349 h 2452"/>
              <a:gd name="T8" fmla="*/ 0 w 2342"/>
              <a:gd name="T9" fmla="*/ 1225 h 2452"/>
              <a:gd name="T10" fmla="*/ 343 w 2342"/>
              <a:gd name="T11" fmla="*/ 2103 h 2452"/>
              <a:gd name="T12" fmla="*/ 1173 w 2342"/>
              <a:gd name="T13" fmla="*/ 2452 h 2452"/>
              <a:gd name="T14" fmla="*/ 1715 w 2342"/>
              <a:gd name="T15" fmla="*/ 2318 h 2452"/>
              <a:gd name="T16" fmla="*/ 1915 w 2342"/>
              <a:gd name="T17" fmla="*/ 2154 h 2452"/>
              <a:gd name="T18" fmla="*/ 1915 w 2342"/>
              <a:gd name="T19" fmla="*/ 2386 h 2452"/>
              <a:gd name="T20" fmla="*/ 2342 w 2342"/>
              <a:gd name="T21" fmla="*/ 2386 h 2452"/>
              <a:gd name="T22" fmla="*/ 2342 w 2342"/>
              <a:gd name="T23" fmla="*/ 66 h 2452"/>
              <a:gd name="T24" fmla="*/ 1915 w 2342"/>
              <a:gd name="T25" fmla="*/ 66 h 2452"/>
              <a:gd name="T26" fmla="*/ 1914 w 2342"/>
              <a:gd name="T27" fmla="*/ 297 h 2452"/>
              <a:gd name="T28" fmla="*/ 1177 w 2342"/>
              <a:gd name="T29" fmla="*/ 2047 h 2452"/>
              <a:gd name="T30" fmla="*/ 644 w 2342"/>
              <a:gd name="T31" fmla="*/ 1813 h 2452"/>
              <a:gd name="T32" fmla="*/ 431 w 2342"/>
              <a:gd name="T33" fmla="*/ 1225 h 2452"/>
              <a:gd name="T34" fmla="*/ 644 w 2342"/>
              <a:gd name="T35" fmla="*/ 638 h 2452"/>
              <a:gd name="T36" fmla="*/ 1177 w 2342"/>
              <a:gd name="T37" fmla="*/ 404 h 2452"/>
              <a:gd name="T38" fmla="*/ 1731 w 2342"/>
              <a:gd name="T39" fmla="*/ 639 h 2452"/>
              <a:gd name="T40" fmla="*/ 1954 w 2342"/>
              <a:gd name="T41" fmla="*/ 1225 h 2452"/>
              <a:gd name="T42" fmla="*/ 1731 w 2342"/>
              <a:gd name="T43" fmla="*/ 1812 h 2452"/>
              <a:gd name="T44" fmla="*/ 1177 w 2342"/>
              <a:gd name="T45" fmla="*/ 2047 h 2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342" h="2452">
                <a:moveTo>
                  <a:pt x="1914" y="297"/>
                </a:moveTo>
                <a:cubicBezTo>
                  <a:pt x="1861" y="238"/>
                  <a:pt x="1795" y="181"/>
                  <a:pt x="1714" y="134"/>
                </a:cubicBezTo>
                <a:cubicBezTo>
                  <a:pt x="1577" y="54"/>
                  <a:pt x="1398" y="0"/>
                  <a:pt x="1172" y="0"/>
                </a:cubicBezTo>
                <a:cubicBezTo>
                  <a:pt x="848" y="0"/>
                  <a:pt x="554" y="130"/>
                  <a:pt x="342" y="349"/>
                </a:cubicBezTo>
                <a:cubicBezTo>
                  <a:pt x="130" y="567"/>
                  <a:pt x="0" y="874"/>
                  <a:pt x="0" y="1225"/>
                </a:cubicBezTo>
                <a:cubicBezTo>
                  <a:pt x="0" y="1577"/>
                  <a:pt x="130" y="1884"/>
                  <a:pt x="343" y="2103"/>
                </a:cubicBezTo>
                <a:cubicBezTo>
                  <a:pt x="555" y="2321"/>
                  <a:pt x="849" y="2452"/>
                  <a:pt x="1173" y="2452"/>
                </a:cubicBezTo>
                <a:cubicBezTo>
                  <a:pt x="1399" y="2452"/>
                  <a:pt x="1578" y="2398"/>
                  <a:pt x="1715" y="2318"/>
                </a:cubicBezTo>
                <a:cubicBezTo>
                  <a:pt x="1796" y="2270"/>
                  <a:pt x="1862" y="2214"/>
                  <a:pt x="1915" y="2154"/>
                </a:cubicBezTo>
                <a:cubicBezTo>
                  <a:pt x="1915" y="2386"/>
                  <a:pt x="1915" y="2386"/>
                  <a:pt x="1915" y="2386"/>
                </a:cubicBezTo>
                <a:cubicBezTo>
                  <a:pt x="2342" y="2386"/>
                  <a:pt x="2342" y="2386"/>
                  <a:pt x="2342" y="2386"/>
                </a:cubicBezTo>
                <a:cubicBezTo>
                  <a:pt x="2342" y="66"/>
                  <a:pt x="2342" y="66"/>
                  <a:pt x="2342" y="66"/>
                </a:cubicBezTo>
                <a:cubicBezTo>
                  <a:pt x="1915" y="66"/>
                  <a:pt x="1915" y="66"/>
                  <a:pt x="1915" y="66"/>
                </a:cubicBezTo>
                <a:cubicBezTo>
                  <a:pt x="1914" y="297"/>
                  <a:pt x="1914" y="297"/>
                  <a:pt x="1914" y="297"/>
                </a:cubicBezTo>
                <a:close/>
                <a:moveTo>
                  <a:pt x="1177" y="2047"/>
                </a:moveTo>
                <a:cubicBezTo>
                  <a:pt x="961" y="2047"/>
                  <a:pt x="776" y="1959"/>
                  <a:pt x="644" y="1813"/>
                </a:cubicBezTo>
                <a:cubicBezTo>
                  <a:pt x="511" y="1667"/>
                  <a:pt x="431" y="1462"/>
                  <a:pt x="431" y="1225"/>
                </a:cubicBezTo>
                <a:cubicBezTo>
                  <a:pt x="431" y="989"/>
                  <a:pt x="512" y="784"/>
                  <a:pt x="644" y="638"/>
                </a:cubicBezTo>
                <a:cubicBezTo>
                  <a:pt x="776" y="492"/>
                  <a:pt x="961" y="404"/>
                  <a:pt x="1177" y="404"/>
                </a:cubicBezTo>
                <a:cubicBezTo>
                  <a:pt x="1400" y="404"/>
                  <a:pt x="1593" y="492"/>
                  <a:pt x="1731" y="639"/>
                </a:cubicBezTo>
                <a:cubicBezTo>
                  <a:pt x="1870" y="784"/>
                  <a:pt x="1954" y="990"/>
                  <a:pt x="1954" y="1225"/>
                </a:cubicBezTo>
                <a:cubicBezTo>
                  <a:pt x="1954" y="1461"/>
                  <a:pt x="1870" y="1666"/>
                  <a:pt x="1731" y="1812"/>
                </a:cubicBezTo>
                <a:cubicBezTo>
                  <a:pt x="1593" y="1959"/>
                  <a:pt x="1400" y="2047"/>
                  <a:pt x="1177" y="2047"/>
                </a:cubicBezTo>
                <a:close/>
              </a:path>
            </a:pathLst>
          </a:custGeom>
          <a:solidFill>
            <a:srgbClr val="F3702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</a:pPr>
            <a:endParaRPr lang="ru-RU"/>
          </a:p>
        </p:txBody>
      </p:sp>
      <p:sp>
        <p:nvSpPr>
          <p:cNvPr id="45" name="Freeform 6">
            <a:extLst>
              <a:ext uri="{FF2B5EF4-FFF2-40B4-BE49-F238E27FC236}">
                <a16:creationId xmlns:a16="http://schemas.microsoft.com/office/drawing/2014/main" id="{CE6877F5-8E50-4C12-8F85-C23E5729491F}"/>
              </a:ext>
            </a:extLst>
          </p:cNvPr>
          <p:cNvSpPr>
            <a:spLocks/>
          </p:cNvSpPr>
          <p:nvPr userDrawn="1"/>
        </p:nvSpPr>
        <p:spPr bwMode="auto">
          <a:xfrm>
            <a:off x="766174" y="883998"/>
            <a:ext cx="251237" cy="260060"/>
          </a:xfrm>
          <a:custGeom>
            <a:avLst/>
            <a:gdLst>
              <a:gd name="T0" fmla="*/ 523 w 541"/>
              <a:gd name="T1" fmla="*/ 0 h 560"/>
              <a:gd name="T2" fmla="*/ 500 w 541"/>
              <a:gd name="T3" fmla="*/ 0 h 560"/>
              <a:gd name="T4" fmla="*/ 405 w 541"/>
              <a:gd name="T5" fmla="*/ 0 h 560"/>
              <a:gd name="T6" fmla="*/ 270 w 541"/>
              <a:gd name="T7" fmla="*/ 182 h 560"/>
              <a:gd name="T8" fmla="*/ 134 w 541"/>
              <a:gd name="T9" fmla="*/ 0 h 560"/>
              <a:gd name="T10" fmla="*/ 17 w 541"/>
              <a:gd name="T11" fmla="*/ 0 h 560"/>
              <a:gd name="T12" fmla="*/ 213 w 541"/>
              <a:gd name="T13" fmla="*/ 263 h 560"/>
              <a:gd name="T14" fmla="*/ 0 w 541"/>
              <a:gd name="T15" fmla="*/ 560 h 560"/>
              <a:gd name="T16" fmla="*/ 116 w 541"/>
              <a:gd name="T17" fmla="*/ 560 h 560"/>
              <a:gd name="T18" fmla="*/ 271 w 541"/>
              <a:gd name="T19" fmla="*/ 345 h 560"/>
              <a:gd name="T20" fmla="*/ 423 w 541"/>
              <a:gd name="T21" fmla="*/ 560 h 560"/>
              <a:gd name="T22" fmla="*/ 541 w 541"/>
              <a:gd name="T23" fmla="*/ 560 h 560"/>
              <a:gd name="T24" fmla="*/ 328 w 541"/>
              <a:gd name="T25" fmla="*/ 262 h 560"/>
              <a:gd name="T26" fmla="*/ 523 w 541"/>
              <a:gd name="T27" fmla="*/ 0 h 5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41" h="560">
                <a:moveTo>
                  <a:pt x="523" y="0"/>
                </a:moveTo>
                <a:lnTo>
                  <a:pt x="500" y="0"/>
                </a:lnTo>
                <a:lnTo>
                  <a:pt x="405" y="0"/>
                </a:lnTo>
                <a:lnTo>
                  <a:pt x="270" y="182"/>
                </a:lnTo>
                <a:lnTo>
                  <a:pt x="134" y="0"/>
                </a:lnTo>
                <a:lnTo>
                  <a:pt x="17" y="0"/>
                </a:lnTo>
                <a:lnTo>
                  <a:pt x="213" y="263"/>
                </a:lnTo>
                <a:lnTo>
                  <a:pt x="0" y="560"/>
                </a:lnTo>
                <a:lnTo>
                  <a:pt x="116" y="560"/>
                </a:lnTo>
                <a:lnTo>
                  <a:pt x="271" y="345"/>
                </a:lnTo>
                <a:lnTo>
                  <a:pt x="423" y="560"/>
                </a:lnTo>
                <a:lnTo>
                  <a:pt x="541" y="560"/>
                </a:lnTo>
                <a:lnTo>
                  <a:pt x="328" y="262"/>
                </a:lnTo>
                <a:lnTo>
                  <a:pt x="523" y="0"/>
                </a:lnTo>
                <a:close/>
              </a:path>
            </a:pathLst>
          </a:custGeom>
          <a:solidFill>
            <a:srgbClr val="F3702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</a:pPr>
            <a:endParaRPr lang="ru-RU"/>
          </a:p>
        </p:txBody>
      </p:sp>
      <p:sp>
        <p:nvSpPr>
          <p:cNvPr id="46" name="Freeform 7">
            <a:extLst>
              <a:ext uri="{FF2B5EF4-FFF2-40B4-BE49-F238E27FC236}">
                <a16:creationId xmlns:a16="http://schemas.microsoft.com/office/drawing/2014/main" id="{544317A4-BDCF-4C96-BB80-549F5D96DCED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44345" y="876568"/>
            <a:ext cx="250772" cy="273992"/>
          </a:xfrm>
          <a:custGeom>
            <a:avLst/>
            <a:gdLst>
              <a:gd name="T0" fmla="*/ 1605 w 2235"/>
              <a:gd name="T1" fmla="*/ 92 h 2444"/>
              <a:gd name="T2" fmla="*/ 1165 w 2235"/>
              <a:gd name="T3" fmla="*/ 0 h 2444"/>
              <a:gd name="T4" fmla="*/ 333 w 2235"/>
              <a:gd name="T5" fmla="*/ 339 h 2444"/>
              <a:gd name="T6" fmla="*/ 1 w 2235"/>
              <a:gd name="T7" fmla="*/ 1236 h 2444"/>
              <a:gd name="T8" fmla="*/ 1 w 2235"/>
              <a:gd name="T9" fmla="*/ 1253 h 2444"/>
              <a:gd name="T10" fmla="*/ 328 w 2235"/>
              <a:gd name="T11" fmla="*/ 2119 h 2444"/>
              <a:gd name="T12" fmla="*/ 1174 w 2235"/>
              <a:gd name="T13" fmla="*/ 2444 h 2444"/>
              <a:gd name="T14" fmla="*/ 1658 w 2235"/>
              <a:gd name="T15" fmla="*/ 2360 h 2444"/>
              <a:gd name="T16" fmla="*/ 2109 w 2235"/>
              <a:gd name="T17" fmla="*/ 2036 h 2444"/>
              <a:gd name="T18" fmla="*/ 2140 w 2235"/>
              <a:gd name="T19" fmla="*/ 2001 h 2444"/>
              <a:gd name="T20" fmla="*/ 1851 w 2235"/>
              <a:gd name="T21" fmla="*/ 1719 h 2444"/>
              <a:gd name="T22" fmla="*/ 1817 w 2235"/>
              <a:gd name="T23" fmla="*/ 1754 h 2444"/>
              <a:gd name="T24" fmla="*/ 1540 w 2235"/>
              <a:gd name="T25" fmla="*/ 1972 h 2444"/>
              <a:gd name="T26" fmla="*/ 1172 w 2235"/>
              <a:gd name="T27" fmla="*/ 2048 h 2444"/>
              <a:gd name="T28" fmla="*/ 871 w 2235"/>
              <a:gd name="T29" fmla="*/ 1995 h 2444"/>
              <a:gd name="T30" fmla="*/ 558 w 2235"/>
              <a:gd name="T31" fmla="*/ 1738 h 2444"/>
              <a:gd name="T32" fmla="*/ 434 w 2235"/>
              <a:gd name="T33" fmla="*/ 1345 h 2444"/>
              <a:gd name="T34" fmla="*/ 2228 w 2235"/>
              <a:gd name="T35" fmla="*/ 1345 h 2444"/>
              <a:gd name="T36" fmla="*/ 2230 w 2235"/>
              <a:gd name="T37" fmla="*/ 1300 h 2444"/>
              <a:gd name="T38" fmla="*/ 2235 w 2235"/>
              <a:gd name="T39" fmla="*/ 1156 h 2444"/>
              <a:gd name="T40" fmla="*/ 1943 w 2235"/>
              <a:gd name="T41" fmla="*/ 341 h 2444"/>
              <a:gd name="T42" fmla="*/ 1605 w 2235"/>
              <a:gd name="T43" fmla="*/ 92 h 2444"/>
              <a:gd name="T44" fmla="*/ 673 w 2235"/>
              <a:gd name="T45" fmla="*/ 585 h 2444"/>
              <a:gd name="T46" fmla="*/ 1165 w 2235"/>
              <a:gd name="T47" fmla="*/ 406 h 2444"/>
              <a:gd name="T48" fmla="*/ 1606 w 2235"/>
              <a:gd name="T49" fmla="*/ 585 h 2444"/>
              <a:gd name="T50" fmla="*/ 1786 w 2235"/>
              <a:gd name="T51" fmla="*/ 964 h 2444"/>
              <a:gd name="T52" fmla="*/ 459 w 2235"/>
              <a:gd name="T53" fmla="*/ 964 h 2444"/>
              <a:gd name="T54" fmla="*/ 673 w 2235"/>
              <a:gd name="T55" fmla="*/ 585 h 24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2235" h="2444">
                <a:moveTo>
                  <a:pt x="1605" y="92"/>
                </a:moveTo>
                <a:cubicBezTo>
                  <a:pt x="1474" y="33"/>
                  <a:pt x="1325" y="0"/>
                  <a:pt x="1165" y="0"/>
                </a:cubicBezTo>
                <a:cubicBezTo>
                  <a:pt x="834" y="0"/>
                  <a:pt x="540" y="122"/>
                  <a:pt x="333" y="339"/>
                </a:cubicBezTo>
                <a:cubicBezTo>
                  <a:pt x="124" y="556"/>
                  <a:pt x="0" y="865"/>
                  <a:pt x="1" y="1236"/>
                </a:cubicBezTo>
                <a:cubicBezTo>
                  <a:pt x="1" y="1253"/>
                  <a:pt x="1" y="1253"/>
                  <a:pt x="1" y="1253"/>
                </a:cubicBezTo>
                <a:cubicBezTo>
                  <a:pt x="1" y="1610"/>
                  <a:pt x="120" y="1909"/>
                  <a:pt x="328" y="2119"/>
                </a:cubicBezTo>
                <a:cubicBezTo>
                  <a:pt x="536" y="2328"/>
                  <a:pt x="831" y="2444"/>
                  <a:pt x="1174" y="2444"/>
                </a:cubicBezTo>
                <a:cubicBezTo>
                  <a:pt x="1339" y="2444"/>
                  <a:pt x="1502" y="2423"/>
                  <a:pt x="1658" y="2360"/>
                </a:cubicBezTo>
                <a:cubicBezTo>
                  <a:pt x="1815" y="2298"/>
                  <a:pt x="1966" y="2195"/>
                  <a:pt x="2109" y="2036"/>
                </a:cubicBezTo>
                <a:cubicBezTo>
                  <a:pt x="2140" y="2001"/>
                  <a:pt x="2140" y="2001"/>
                  <a:pt x="2140" y="2001"/>
                </a:cubicBezTo>
                <a:cubicBezTo>
                  <a:pt x="1851" y="1719"/>
                  <a:pt x="1851" y="1719"/>
                  <a:pt x="1851" y="1719"/>
                </a:cubicBezTo>
                <a:cubicBezTo>
                  <a:pt x="1817" y="1754"/>
                  <a:pt x="1817" y="1754"/>
                  <a:pt x="1817" y="1754"/>
                </a:cubicBezTo>
                <a:cubicBezTo>
                  <a:pt x="1727" y="1849"/>
                  <a:pt x="1640" y="1922"/>
                  <a:pt x="1540" y="1972"/>
                </a:cubicBezTo>
                <a:cubicBezTo>
                  <a:pt x="1441" y="2021"/>
                  <a:pt x="1325" y="2048"/>
                  <a:pt x="1172" y="2048"/>
                </a:cubicBezTo>
                <a:cubicBezTo>
                  <a:pt x="1061" y="2048"/>
                  <a:pt x="960" y="2030"/>
                  <a:pt x="871" y="1995"/>
                </a:cubicBezTo>
                <a:cubicBezTo>
                  <a:pt x="739" y="1943"/>
                  <a:pt x="632" y="1856"/>
                  <a:pt x="558" y="1738"/>
                </a:cubicBezTo>
                <a:cubicBezTo>
                  <a:pt x="489" y="1631"/>
                  <a:pt x="447" y="1499"/>
                  <a:pt x="434" y="1345"/>
                </a:cubicBezTo>
                <a:cubicBezTo>
                  <a:pt x="2228" y="1345"/>
                  <a:pt x="2228" y="1345"/>
                  <a:pt x="2228" y="1345"/>
                </a:cubicBezTo>
                <a:cubicBezTo>
                  <a:pt x="2230" y="1300"/>
                  <a:pt x="2230" y="1300"/>
                  <a:pt x="2230" y="1300"/>
                </a:cubicBezTo>
                <a:cubicBezTo>
                  <a:pt x="2235" y="1232"/>
                  <a:pt x="2235" y="1156"/>
                  <a:pt x="2235" y="1156"/>
                </a:cubicBezTo>
                <a:cubicBezTo>
                  <a:pt x="2235" y="839"/>
                  <a:pt x="2130" y="551"/>
                  <a:pt x="1943" y="341"/>
                </a:cubicBezTo>
                <a:cubicBezTo>
                  <a:pt x="1850" y="236"/>
                  <a:pt x="1736" y="151"/>
                  <a:pt x="1605" y="92"/>
                </a:cubicBezTo>
                <a:close/>
                <a:moveTo>
                  <a:pt x="673" y="585"/>
                </a:moveTo>
                <a:cubicBezTo>
                  <a:pt x="800" y="475"/>
                  <a:pt x="974" y="406"/>
                  <a:pt x="1165" y="406"/>
                </a:cubicBezTo>
                <a:cubicBezTo>
                  <a:pt x="1337" y="406"/>
                  <a:pt x="1492" y="475"/>
                  <a:pt x="1606" y="585"/>
                </a:cubicBezTo>
                <a:cubicBezTo>
                  <a:pt x="1707" y="685"/>
                  <a:pt x="1774" y="817"/>
                  <a:pt x="1786" y="964"/>
                </a:cubicBezTo>
                <a:cubicBezTo>
                  <a:pt x="459" y="964"/>
                  <a:pt x="459" y="964"/>
                  <a:pt x="459" y="964"/>
                </a:cubicBezTo>
                <a:cubicBezTo>
                  <a:pt x="481" y="816"/>
                  <a:pt x="559" y="684"/>
                  <a:pt x="673" y="585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</a:pPr>
            <a:endParaRPr lang="ru-RU"/>
          </a:p>
        </p:txBody>
      </p:sp>
      <p:sp>
        <p:nvSpPr>
          <p:cNvPr id="47" name="Freeform 8">
            <a:extLst>
              <a:ext uri="{FF2B5EF4-FFF2-40B4-BE49-F238E27FC236}">
                <a16:creationId xmlns:a16="http://schemas.microsoft.com/office/drawing/2014/main" id="{B0F7B544-FDEB-46B2-8C45-7B7A6497D06F}"/>
              </a:ext>
            </a:extLst>
          </p:cNvPr>
          <p:cNvSpPr>
            <a:spLocks/>
          </p:cNvSpPr>
          <p:nvPr userDrawn="1"/>
        </p:nvSpPr>
        <p:spPr bwMode="auto">
          <a:xfrm>
            <a:off x="1357346" y="879819"/>
            <a:ext cx="220122" cy="264240"/>
          </a:xfrm>
          <a:custGeom>
            <a:avLst/>
            <a:gdLst>
              <a:gd name="T0" fmla="*/ 1608 w 1965"/>
              <a:gd name="T1" fmla="*/ 142 h 2354"/>
              <a:gd name="T2" fmla="*/ 1093 w 1965"/>
              <a:gd name="T3" fmla="*/ 0 h 2354"/>
              <a:gd name="T4" fmla="*/ 627 w 1965"/>
              <a:gd name="T5" fmla="*/ 122 h 2354"/>
              <a:gd name="T6" fmla="*/ 431 w 1965"/>
              <a:gd name="T7" fmla="*/ 293 h 2354"/>
              <a:gd name="T8" fmla="*/ 431 w 1965"/>
              <a:gd name="T9" fmla="*/ 35 h 2354"/>
              <a:gd name="T10" fmla="*/ 0 w 1965"/>
              <a:gd name="T11" fmla="*/ 35 h 2354"/>
              <a:gd name="T12" fmla="*/ 0 w 1965"/>
              <a:gd name="T13" fmla="*/ 2354 h 2354"/>
              <a:gd name="T14" fmla="*/ 431 w 1965"/>
              <a:gd name="T15" fmla="*/ 2354 h 2354"/>
              <a:gd name="T16" fmla="*/ 431 w 1965"/>
              <a:gd name="T17" fmla="*/ 979 h 2354"/>
              <a:gd name="T18" fmla="*/ 591 w 1965"/>
              <a:gd name="T19" fmla="*/ 562 h 2354"/>
              <a:gd name="T20" fmla="*/ 1009 w 1965"/>
              <a:gd name="T21" fmla="*/ 405 h 2354"/>
              <a:gd name="T22" fmla="*/ 1232 w 1965"/>
              <a:gd name="T23" fmla="*/ 443 h 2354"/>
              <a:gd name="T24" fmla="*/ 1456 w 1965"/>
              <a:gd name="T25" fmla="*/ 631 h 2354"/>
              <a:gd name="T26" fmla="*/ 1537 w 1965"/>
              <a:gd name="T27" fmla="*/ 956 h 2354"/>
              <a:gd name="T28" fmla="*/ 1537 w 1965"/>
              <a:gd name="T29" fmla="*/ 2354 h 2354"/>
              <a:gd name="T30" fmla="*/ 1965 w 1965"/>
              <a:gd name="T31" fmla="*/ 2354 h 2354"/>
              <a:gd name="T32" fmla="*/ 1965 w 1965"/>
              <a:gd name="T33" fmla="*/ 886 h 2354"/>
              <a:gd name="T34" fmla="*/ 1906 w 1965"/>
              <a:gd name="T35" fmla="*/ 528 h 2354"/>
              <a:gd name="T36" fmla="*/ 1608 w 1965"/>
              <a:gd name="T37" fmla="*/ 142 h 2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965" h="2354">
                <a:moveTo>
                  <a:pt x="1608" y="142"/>
                </a:moveTo>
                <a:cubicBezTo>
                  <a:pt x="1469" y="50"/>
                  <a:pt x="1295" y="0"/>
                  <a:pt x="1093" y="0"/>
                </a:cubicBezTo>
                <a:cubicBezTo>
                  <a:pt x="913" y="0"/>
                  <a:pt x="755" y="45"/>
                  <a:pt x="627" y="122"/>
                </a:cubicBezTo>
                <a:cubicBezTo>
                  <a:pt x="550" y="169"/>
                  <a:pt x="485" y="227"/>
                  <a:pt x="431" y="293"/>
                </a:cubicBezTo>
                <a:cubicBezTo>
                  <a:pt x="431" y="35"/>
                  <a:pt x="431" y="35"/>
                  <a:pt x="431" y="35"/>
                </a:cubicBezTo>
                <a:cubicBezTo>
                  <a:pt x="0" y="35"/>
                  <a:pt x="0" y="35"/>
                  <a:pt x="0" y="35"/>
                </a:cubicBezTo>
                <a:cubicBezTo>
                  <a:pt x="0" y="2354"/>
                  <a:pt x="0" y="2354"/>
                  <a:pt x="0" y="2354"/>
                </a:cubicBezTo>
                <a:cubicBezTo>
                  <a:pt x="431" y="2354"/>
                  <a:pt x="431" y="2354"/>
                  <a:pt x="431" y="2354"/>
                </a:cubicBezTo>
                <a:cubicBezTo>
                  <a:pt x="431" y="979"/>
                  <a:pt x="431" y="979"/>
                  <a:pt x="431" y="979"/>
                </a:cubicBezTo>
                <a:cubicBezTo>
                  <a:pt x="431" y="804"/>
                  <a:pt x="491" y="662"/>
                  <a:pt x="591" y="562"/>
                </a:cubicBezTo>
                <a:cubicBezTo>
                  <a:pt x="691" y="463"/>
                  <a:pt x="834" y="405"/>
                  <a:pt x="1009" y="405"/>
                </a:cubicBezTo>
                <a:cubicBezTo>
                  <a:pt x="1093" y="405"/>
                  <a:pt x="1168" y="419"/>
                  <a:pt x="1232" y="443"/>
                </a:cubicBezTo>
                <a:cubicBezTo>
                  <a:pt x="1329" y="481"/>
                  <a:pt x="1405" y="545"/>
                  <a:pt x="1456" y="631"/>
                </a:cubicBezTo>
                <a:cubicBezTo>
                  <a:pt x="1509" y="717"/>
                  <a:pt x="1537" y="826"/>
                  <a:pt x="1537" y="956"/>
                </a:cubicBezTo>
                <a:cubicBezTo>
                  <a:pt x="1537" y="2354"/>
                  <a:pt x="1537" y="2354"/>
                  <a:pt x="1537" y="2354"/>
                </a:cubicBezTo>
                <a:cubicBezTo>
                  <a:pt x="1965" y="2354"/>
                  <a:pt x="1965" y="2354"/>
                  <a:pt x="1965" y="2354"/>
                </a:cubicBezTo>
                <a:cubicBezTo>
                  <a:pt x="1965" y="886"/>
                  <a:pt x="1965" y="886"/>
                  <a:pt x="1965" y="886"/>
                </a:cubicBezTo>
                <a:cubicBezTo>
                  <a:pt x="1965" y="757"/>
                  <a:pt x="1944" y="636"/>
                  <a:pt x="1906" y="528"/>
                </a:cubicBezTo>
                <a:cubicBezTo>
                  <a:pt x="1848" y="367"/>
                  <a:pt x="1746" y="233"/>
                  <a:pt x="1608" y="142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</a:pPr>
            <a:endParaRPr lang="ru-RU"/>
          </a:p>
        </p:txBody>
      </p:sp>
      <p:sp>
        <p:nvSpPr>
          <p:cNvPr id="48" name="Freeform 9">
            <a:extLst>
              <a:ext uri="{FF2B5EF4-FFF2-40B4-BE49-F238E27FC236}">
                <a16:creationId xmlns:a16="http://schemas.microsoft.com/office/drawing/2014/main" id="{66269EB8-9283-48F9-8794-D370FF445A26}"/>
              </a:ext>
            </a:extLst>
          </p:cNvPr>
          <p:cNvSpPr>
            <a:spLocks/>
          </p:cNvSpPr>
          <p:nvPr userDrawn="1"/>
        </p:nvSpPr>
        <p:spPr bwMode="auto">
          <a:xfrm>
            <a:off x="1649914" y="883998"/>
            <a:ext cx="48297" cy="260060"/>
          </a:xfrm>
          <a:custGeom>
            <a:avLst/>
            <a:gdLst>
              <a:gd name="T0" fmla="*/ 0 w 104"/>
              <a:gd name="T1" fmla="*/ 560 h 560"/>
              <a:gd name="T2" fmla="*/ 11 w 104"/>
              <a:gd name="T3" fmla="*/ 560 h 560"/>
              <a:gd name="T4" fmla="*/ 104 w 104"/>
              <a:gd name="T5" fmla="*/ 560 h 560"/>
              <a:gd name="T6" fmla="*/ 104 w 104"/>
              <a:gd name="T7" fmla="*/ 0 h 560"/>
              <a:gd name="T8" fmla="*/ 0 w 104"/>
              <a:gd name="T9" fmla="*/ 0 h 560"/>
              <a:gd name="T10" fmla="*/ 0 w 104"/>
              <a:gd name="T11" fmla="*/ 560 h 5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4" h="560">
                <a:moveTo>
                  <a:pt x="0" y="560"/>
                </a:moveTo>
                <a:lnTo>
                  <a:pt x="11" y="560"/>
                </a:lnTo>
                <a:lnTo>
                  <a:pt x="104" y="560"/>
                </a:lnTo>
                <a:lnTo>
                  <a:pt x="104" y="0"/>
                </a:lnTo>
                <a:lnTo>
                  <a:pt x="0" y="0"/>
                </a:lnTo>
                <a:lnTo>
                  <a:pt x="0" y="56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</a:pPr>
            <a:endParaRPr lang="ru-RU"/>
          </a:p>
        </p:txBody>
      </p:sp>
      <p:sp>
        <p:nvSpPr>
          <p:cNvPr id="49" name="Freeform 10">
            <a:extLst>
              <a:ext uri="{FF2B5EF4-FFF2-40B4-BE49-F238E27FC236}">
                <a16:creationId xmlns:a16="http://schemas.microsoft.com/office/drawing/2014/main" id="{72504E86-77F6-40AB-839D-6AE196C88220}"/>
              </a:ext>
            </a:extLst>
          </p:cNvPr>
          <p:cNvSpPr>
            <a:spLocks/>
          </p:cNvSpPr>
          <p:nvPr userDrawn="1"/>
        </p:nvSpPr>
        <p:spPr bwMode="auto">
          <a:xfrm>
            <a:off x="1751616" y="883998"/>
            <a:ext cx="251237" cy="260060"/>
          </a:xfrm>
          <a:custGeom>
            <a:avLst/>
            <a:gdLst>
              <a:gd name="T0" fmla="*/ 328 w 541"/>
              <a:gd name="T1" fmla="*/ 262 h 560"/>
              <a:gd name="T2" fmla="*/ 523 w 541"/>
              <a:gd name="T3" fmla="*/ 0 h 560"/>
              <a:gd name="T4" fmla="*/ 405 w 541"/>
              <a:gd name="T5" fmla="*/ 0 h 560"/>
              <a:gd name="T6" fmla="*/ 270 w 541"/>
              <a:gd name="T7" fmla="*/ 182 h 560"/>
              <a:gd name="T8" fmla="*/ 134 w 541"/>
              <a:gd name="T9" fmla="*/ 0 h 560"/>
              <a:gd name="T10" fmla="*/ 17 w 541"/>
              <a:gd name="T11" fmla="*/ 0 h 560"/>
              <a:gd name="T12" fmla="*/ 213 w 541"/>
              <a:gd name="T13" fmla="*/ 263 h 560"/>
              <a:gd name="T14" fmla="*/ 0 w 541"/>
              <a:gd name="T15" fmla="*/ 560 h 560"/>
              <a:gd name="T16" fmla="*/ 116 w 541"/>
              <a:gd name="T17" fmla="*/ 560 h 560"/>
              <a:gd name="T18" fmla="*/ 271 w 541"/>
              <a:gd name="T19" fmla="*/ 345 h 560"/>
              <a:gd name="T20" fmla="*/ 424 w 541"/>
              <a:gd name="T21" fmla="*/ 560 h 560"/>
              <a:gd name="T22" fmla="*/ 541 w 541"/>
              <a:gd name="T23" fmla="*/ 560 h 560"/>
              <a:gd name="T24" fmla="*/ 328 w 541"/>
              <a:gd name="T25" fmla="*/ 262 h 5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41" h="560">
                <a:moveTo>
                  <a:pt x="328" y="262"/>
                </a:moveTo>
                <a:lnTo>
                  <a:pt x="523" y="0"/>
                </a:lnTo>
                <a:lnTo>
                  <a:pt x="405" y="0"/>
                </a:lnTo>
                <a:lnTo>
                  <a:pt x="270" y="182"/>
                </a:lnTo>
                <a:lnTo>
                  <a:pt x="134" y="0"/>
                </a:lnTo>
                <a:lnTo>
                  <a:pt x="17" y="0"/>
                </a:lnTo>
                <a:lnTo>
                  <a:pt x="213" y="263"/>
                </a:lnTo>
                <a:lnTo>
                  <a:pt x="0" y="560"/>
                </a:lnTo>
                <a:lnTo>
                  <a:pt x="116" y="560"/>
                </a:lnTo>
                <a:lnTo>
                  <a:pt x="271" y="345"/>
                </a:lnTo>
                <a:lnTo>
                  <a:pt x="424" y="560"/>
                </a:lnTo>
                <a:lnTo>
                  <a:pt x="541" y="560"/>
                </a:lnTo>
                <a:lnTo>
                  <a:pt x="328" y="26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</a:pPr>
            <a:endParaRPr lang="ru-RU"/>
          </a:p>
        </p:txBody>
      </p:sp>
      <p:sp>
        <p:nvSpPr>
          <p:cNvPr id="50" name="Freeform 11">
            <a:extLst>
              <a:ext uri="{FF2B5EF4-FFF2-40B4-BE49-F238E27FC236}">
                <a16:creationId xmlns:a16="http://schemas.microsoft.com/office/drawing/2014/main" id="{D11B9626-CEB0-4884-8120-1F8172970267}"/>
              </a:ext>
            </a:extLst>
          </p:cNvPr>
          <p:cNvSpPr>
            <a:spLocks/>
          </p:cNvSpPr>
          <p:nvPr userDrawn="1"/>
        </p:nvSpPr>
        <p:spPr bwMode="auto">
          <a:xfrm>
            <a:off x="604101" y="271463"/>
            <a:ext cx="406344" cy="544734"/>
          </a:xfrm>
          <a:custGeom>
            <a:avLst/>
            <a:gdLst>
              <a:gd name="T0" fmla="*/ 535 w 3625"/>
              <a:gd name="T1" fmla="*/ 4303 h 4860"/>
              <a:gd name="T2" fmla="*/ 459 w 3625"/>
              <a:gd name="T3" fmla="*/ 4139 h 4860"/>
              <a:gd name="T4" fmla="*/ 435 w 3625"/>
              <a:gd name="T5" fmla="*/ 3604 h 4860"/>
              <a:gd name="T6" fmla="*/ 718 w 3625"/>
              <a:gd name="T7" fmla="*/ 3134 h 4860"/>
              <a:gd name="T8" fmla="*/ 3624 w 3625"/>
              <a:gd name="T9" fmla="*/ 518 h 4860"/>
              <a:gd name="T10" fmla="*/ 3624 w 3625"/>
              <a:gd name="T11" fmla="*/ 0 h 4860"/>
              <a:gd name="T12" fmla="*/ 461 w 3625"/>
              <a:gd name="T13" fmla="*/ 2848 h 4860"/>
              <a:gd name="T14" fmla="*/ 148 w 3625"/>
              <a:gd name="T15" fmla="*/ 3271 h 4860"/>
              <a:gd name="T16" fmla="*/ 36 w 3625"/>
              <a:gd name="T17" fmla="*/ 4016 h 4860"/>
              <a:gd name="T18" fmla="*/ 363 w 3625"/>
              <a:gd name="T19" fmla="*/ 4717 h 4860"/>
              <a:gd name="T20" fmla="*/ 363 w 3625"/>
              <a:gd name="T21" fmla="*/ 4717 h 4860"/>
              <a:gd name="T22" fmla="*/ 493 w 3625"/>
              <a:gd name="T23" fmla="*/ 4860 h 4860"/>
              <a:gd name="T24" fmla="*/ 3625 w 3625"/>
              <a:gd name="T25" fmla="*/ 2040 h 4860"/>
              <a:gd name="T26" fmla="*/ 3625 w 3625"/>
              <a:gd name="T27" fmla="*/ 1522 h 4860"/>
              <a:gd name="T28" fmla="*/ 535 w 3625"/>
              <a:gd name="T29" fmla="*/ 4303 h 4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625" h="4860">
                <a:moveTo>
                  <a:pt x="535" y="4303"/>
                </a:moveTo>
                <a:cubicBezTo>
                  <a:pt x="505" y="4250"/>
                  <a:pt x="479" y="4195"/>
                  <a:pt x="459" y="4139"/>
                </a:cubicBezTo>
                <a:cubicBezTo>
                  <a:pt x="399" y="3966"/>
                  <a:pt x="392" y="3780"/>
                  <a:pt x="435" y="3604"/>
                </a:cubicBezTo>
                <a:cubicBezTo>
                  <a:pt x="479" y="3428"/>
                  <a:pt x="573" y="3264"/>
                  <a:pt x="718" y="3134"/>
                </a:cubicBezTo>
                <a:cubicBezTo>
                  <a:pt x="3624" y="518"/>
                  <a:pt x="3624" y="518"/>
                  <a:pt x="3624" y="518"/>
                </a:cubicBezTo>
                <a:cubicBezTo>
                  <a:pt x="3624" y="0"/>
                  <a:pt x="3624" y="0"/>
                  <a:pt x="3624" y="0"/>
                </a:cubicBezTo>
                <a:cubicBezTo>
                  <a:pt x="461" y="2848"/>
                  <a:pt x="461" y="2848"/>
                  <a:pt x="461" y="2848"/>
                </a:cubicBezTo>
                <a:cubicBezTo>
                  <a:pt x="326" y="2970"/>
                  <a:pt x="220" y="3115"/>
                  <a:pt x="148" y="3271"/>
                </a:cubicBezTo>
                <a:cubicBezTo>
                  <a:pt x="38" y="3505"/>
                  <a:pt x="0" y="3764"/>
                  <a:pt x="36" y="4016"/>
                </a:cubicBezTo>
                <a:cubicBezTo>
                  <a:pt x="71" y="4268"/>
                  <a:pt x="180" y="4514"/>
                  <a:pt x="363" y="4717"/>
                </a:cubicBezTo>
                <a:cubicBezTo>
                  <a:pt x="363" y="4717"/>
                  <a:pt x="363" y="4717"/>
                  <a:pt x="363" y="4717"/>
                </a:cubicBezTo>
                <a:cubicBezTo>
                  <a:pt x="493" y="4860"/>
                  <a:pt x="493" y="4860"/>
                  <a:pt x="493" y="4860"/>
                </a:cubicBezTo>
                <a:cubicBezTo>
                  <a:pt x="3625" y="2040"/>
                  <a:pt x="3625" y="2040"/>
                  <a:pt x="3625" y="2040"/>
                </a:cubicBezTo>
                <a:cubicBezTo>
                  <a:pt x="3625" y="1522"/>
                  <a:pt x="3625" y="1522"/>
                  <a:pt x="3625" y="1522"/>
                </a:cubicBezTo>
                <a:lnTo>
                  <a:pt x="535" y="4303"/>
                </a:lnTo>
                <a:close/>
              </a:path>
            </a:pathLst>
          </a:custGeom>
          <a:solidFill>
            <a:srgbClr val="F3702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</a:pPr>
            <a:endParaRPr lang="ru-RU"/>
          </a:p>
        </p:txBody>
      </p:sp>
      <p:sp>
        <p:nvSpPr>
          <p:cNvPr id="51" name="Freeform 12">
            <a:extLst>
              <a:ext uri="{FF2B5EF4-FFF2-40B4-BE49-F238E27FC236}">
                <a16:creationId xmlns:a16="http://schemas.microsoft.com/office/drawing/2014/main" id="{A8CFCB7C-7156-4ACF-A024-680F775C404C}"/>
              </a:ext>
            </a:extLst>
          </p:cNvPr>
          <p:cNvSpPr>
            <a:spLocks/>
          </p:cNvSpPr>
          <p:nvPr userDrawn="1"/>
        </p:nvSpPr>
        <p:spPr bwMode="auto">
          <a:xfrm>
            <a:off x="787536" y="616508"/>
            <a:ext cx="221980" cy="199689"/>
          </a:xfrm>
          <a:custGeom>
            <a:avLst/>
            <a:gdLst>
              <a:gd name="T0" fmla="*/ 0 w 478"/>
              <a:gd name="T1" fmla="*/ 430 h 430"/>
              <a:gd name="T2" fmla="*/ 140 w 478"/>
              <a:gd name="T3" fmla="*/ 430 h 430"/>
              <a:gd name="T4" fmla="*/ 478 w 478"/>
              <a:gd name="T5" fmla="*/ 125 h 430"/>
              <a:gd name="T6" fmla="*/ 478 w 478"/>
              <a:gd name="T7" fmla="*/ 0 h 430"/>
              <a:gd name="T8" fmla="*/ 0 w 478"/>
              <a:gd name="T9" fmla="*/ 430 h 4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78" h="430">
                <a:moveTo>
                  <a:pt x="0" y="430"/>
                </a:moveTo>
                <a:lnTo>
                  <a:pt x="140" y="430"/>
                </a:lnTo>
                <a:lnTo>
                  <a:pt x="478" y="125"/>
                </a:lnTo>
                <a:lnTo>
                  <a:pt x="478" y="0"/>
                </a:lnTo>
                <a:lnTo>
                  <a:pt x="0" y="430"/>
                </a:lnTo>
                <a:close/>
              </a:path>
            </a:pathLst>
          </a:custGeom>
          <a:solidFill>
            <a:srgbClr val="F3702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</a:pPr>
            <a:endParaRPr lang="ru-RU"/>
          </a:p>
        </p:txBody>
      </p:sp>
      <p:sp>
        <p:nvSpPr>
          <p:cNvPr id="57" name="Title 1">
            <a:extLst>
              <a:ext uri="{FF2B5EF4-FFF2-40B4-BE49-F238E27FC236}">
                <a16:creationId xmlns:a16="http://schemas.microsoft.com/office/drawing/2014/main" id="{F910E70E-7EF3-42D3-8EA5-2187DFED7788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450851" y="2660733"/>
            <a:ext cx="6747108" cy="2901869"/>
          </a:xfrm>
          <a:prstGeom prst="rect">
            <a:avLst/>
          </a:prstGeom>
          <a:effectLst/>
        </p:spPr>
        <p:txBody>
          <a:bodyPr wrap="square" lIns="0" tIns="0" rIns="0" bIns="0"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500">
                <a:solidFill>
                  <a:schemeClr val="tx1"/>
                </a:solidFill>
                <a:effectLst/>
              </a:defRPr>
            </a:lvl1pPr>
          </a:lstStyle>
          <a:p>
            <a:r>
              <a:rPr lang="ru-RU" dirty="0"/>
              <a:t>Заголовок презентации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92829075-C0A5-4F29-89A4-9244347885ED}"/>
              </a:ext>
            </a:extLst>
          </p:cNvPr>
          <p:cNvSpPr txBox="1">
            <a:spLocks/>
          </p:cNvSpPr>
          <p:nvPr userDrawn="1"/>
        </p:nvSpPr>
        <p:spPr>
          <a:xfrm>
            <a:off x="7439444" y="6104394"/>
            <a:ext cx="4303294" cy="215444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marL="0" lvl="0" algn="l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r>
              <a:rPr lang="ru-RU" sz="14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Технологии. Стратегии. Консалтинг. Аутсорсинг.</a:t>
            </a:r>
          </a:p>
        </p:txBody>
      </p:sp>
      <p:sp>
        <p:nvSpPr>
          <p:cNvPr id="72" name="Text Placeholder 46">
            <a:extLst>
              <a:ext uri="{FF2B5EF4-FFF2-40B4-BE49-F238E27FC236}">
                <a16:creationId xmlns:a16="http://schemas.microsoft.com/office/drawing/2014/main" id="{57D7415A-1117-4EF2-B32F-7FA747E0C3ED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50851" y="6104394"/>
            <a:ext cx="67471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lang="en-US" sz="1400" b="1" dirty="0" smtClean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lang="en-US" sz="1800" dirty="0" smtClean="0"/>
            </a:lvl2pPr>
            <a:lvl3pPr marL="0" indent="0">
              <a:spcBef>
                <a:spcPts val="0"/>
              </a:spcBef>
              <a:buFontTx/>
              <a:buNone/>
              <a:defRPr lang="en-US" sz="1800" dirty="0" smtClean="0"/>
            </a:lvl3pPr>
            <a:lvl4pPr marL="0" indent="0">
              <a:spcBef>
                <a:spcPts val="0"/>
              </a:spcBef>
              <a:buFontTx/>
              <a:buNone/>
              <a:defRPr lang="en-US" sz="1800" dirty="0" smtClean="0"/>
            </a:lvl4pPr>
            <a:lvl5pPr marL="0" indent="0">
              <a:spcBef>
                <a:spcPts val="0"/>
              </a:spcBef>
              <a:buFontTx/>
              <a:buNone/>
              <a:defRPr lang="ru-RU" sz="1800" dirty="0"/>
            </a:lvl5pPr>
          </a:lstStyle>
          <a:p>
            <a:pPr lvl="0"/>
            <a:r>
              <a:rPr lang="ru-RU" dirty="0"/>
              <a:t>Дата в формате ДД Месяц </a:t>
            </a:r>
            <a:r>
              <a:rPr lang="ru-RU" dirty="0" err="1"/>
              <a:t>ГГГГг</a:t>
            </a:r>
            <a:r>
              <a:rPr lang="ru-RU" dirty="0"/>
              <a:t>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C006631-D854-4AB0-8DCE-7768E1A02610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50851" y="5711764"/>
            <a:ext cx="6747108" cy="2492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ип документа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DE5667C-A3A8-4FF4-A019-2A55AF06FDA7}"/>
              </a:ext>
            </a:extLst>
          </p:cNvPr>
          <p:cNvGrpSpPr/>
          <p:nvPr userDrawn="1"/>
        </p:nvGrpSpPr>
        <p:grpSpPr>
          <a:xfrm>
            <a:off x="7473950" y="258763"/>
            <a:ext cx="4268788" cy="5702300"/>
            <a:chOff x="7505700" y="258763"/>
            <a:chExt cx="4268788" cy="5702300"/>
          </a:xfrm>
          <a:solidFill>
            <a:schemeClr val="bg1"/>
          </a:solidFill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B8FDD250-F1E1-428A-AD90-04B92F2661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28163" y="3862388"/>
              <a:ext cx="2346325" cy="2098675"/>
            </a:xfrm>
            <a:custGeom>
              <a:avLst/>
              <a:gdLst>
                <a:gd name="T0" fmla="*/ 1478 w 1478"/>
                <a:gd name="T1" fmla="*/ 383 h 1322"/>
                <a:gd name="T2" fmla="*/ 1478 w 1478"/>
                <a:gd name="T3" fmla="*/ 0 h 1322"/>
                <a:gd name="T4" fmla="*/ 0 w 1478"/>
                <a:gd name="T5" fmla="*/ 1322 h 1322"/>
                <a:gd name="T6" fmla="*/ 427 w 1478"/>
                <a:gd name="T7" fmla="*/ 1322 h 1322"/>
                <a:gd name="T8" fmla="*/ 1478 w 1478"/>
                <a:gd name="T9" fmla="*/ 383 h 1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8" h="1322">
                  <a:moveTo>
                    <a:pt x="1478" y="383"/>
                  </a:moveTo>
                  <a:lnTo>
                    <a:pt x="1478" y="0"/>
                  </a:lnTo>
                  <a:lnTo>
                    <a:pt x="0" y="1322"/>
                  </a:lnTo>
                  <a:lnTo>
                    <a:pt x="427" y="1322"/>
                  </a:lnTo>
                  <a:lnTo>
                    <a:pt x="1478" y="383"/>
                  </a:lnTo>
                  <a:close/>
                </a:path>
              </a:pathLst>
            </a:custGeom>
            <a:grpFill/>
            <a:ln w="6350">
              <a:solidFill>
                <a:srgbClr val="F37022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E7B8C476-2642-42BD-8254-86CA0004FD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5700" y="258763"/>
              <a:ext cx="4268788" cy="5692775"/>
            </a:xfrm>
            <a:custGeom>
              <a:avLst/>
              <a:gdLst>
                <a:gd name="T0" fmla="*/ 225 w 1535"/>
                <a:gd name="T1" fmla="*/ 1812 h 2048"/>
                <a:gd name="T2" fmla="*/ 194 w 1535"/>
                <a:gd name="T3" fmla="*/ 1743 h 2048"/>
                <a:gd name="T4" fmla="*/ 184 w 1535"/>
                <a:gd name="T5" fmla="*/ 1516 h 2048"/>
                <a:gd name="T6" fmla="*/ 305 w 1535"/>
                <a:gd name="T7" fmla="*/ 1318 h 2048"/>
                <a:gd name="T8" fmla="*/ 1535 w 1535"/>
                <a:gd name="T9" fmla="*/ 219 h 2048"/>
                <a:gd name="T10" fmla="*/ 1535 w 1535"/>
                <a:gd name="T11" fmla="*/ 0 h 2048"/>
                <a:gd name="T12" fmla="*/ 197 w 1535"/>
                <a:gd name="T13" fmla="*/ 1197 h 2048"/>
                <a:gd name="T14" fmla="*/ 63 w 1535"/>
                <a:gd name="T15" fmla="*/ 1375 h 2048"/>
                <a:gd name="T16" fmla="*/ 15 w 1535"/>
                <a:gd name="T17" fmla="*/ 1690 h 2048"/>
                <a:gd name="T18" fmla="*/ 152 w 1535"/>
                <a:gd name="T19" fmla="*/ 1987 h 2048"/>
                <a:gd name="T20" fmla="*/ 207 w 1535"/>
                <a:gd name="T21" fmla="*/ 2048 h 2048"/>
                <a:gd name="T22" fmla="*/ 1535 w 1535"/>
                <a:gd name="T23" fmla="*/ 861 h 2048"/>
                <a:gd name="T24" fmla="*/ 1535 w 1535"/>
                <a:gd name="T25" fmla="*/ 642 h 2048"/>
                <a:gd name="T26" fmla="*/ 225 w 1535"/>
                <a:gd name="T27" fmla="*/ 1812 h 20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35" h="2048">
                  <a:moveTo>
                    <a:pt x="225" y="1812"/>
                  </a:moveTo>
                  <a:cubicBezTo>
                    <a:pt x="213" y="1790"/>
                    <a:pt x="202" y="1767"/>
                    <a:pt x="194" y="1743"/>
                  </a:cubicBezTo>
                  <a:cubicBezTo>
                    <a:pt x="169" y="1670"/>
                    <a:pt x="166" y="1591"/>
                    <a:pt x="184" y="1516"/>
                  </a:cubicBezTo>
                  <a:cubicBezTo>
                    <a:pt x="203" y="1442"/>
                    <a:pt x="243" y="1373"/>
                    <a:pt x="305" y="1318"/>
                  </a:cubicBezTo>
                  <a:cubicBezTo>
                    <a:pt x="1535" y="219"/>
                    <a:pt x="1535" y="219"/>
                    <a:pt x="1535" y="219"/>
                  </a:cubicBezTo>
                  <a:cubicBezTo>
                    <a:pt x="1535" y="0"/>
                    <a:pt x="1535" y="0"/>
                    <a:pt x="1535" y="0"/>
                  </a:cubicBezTo>
                  <a:cubicBezTo>
                    <a:pt x="197" y="1197"/>
                    <a:pt x="197" y="1197"/>
                    <a:pt x="197" y="1197"/>
                  </a:cubicBezTo>
                  <a:cubicBezTo>
                    <a:pt x="139" y="1248"/>
                    <a:pt x="94" y="1309"/>
                    <a:pt x="63" y="1375"/>
                  </a:cubicBezTo>
                  <a:cubicBezTo>
                    <a:pt x="16" y="1474"/>
                    <a:pt x="0" y="1584"/>
                    <a:pt x="15" y="1690"/>
                  </a:cubicBezTo>
                  <a:cubicBezTo>
                    <a:pt x="29" y="1797"/>
                    <a:pt x="75" y="1901"/>
                    <a:pt x="152" y="1987"/>
                  </a:cubicBezTo>
                  <a:cubicBezTo>
                    <a:pt x="207" y="2048"/>
                    <a:pt x="207" y="2048"/>
                    <a:pt x="207" y="2048"/>
                  </a:cubicBezTo>
                  <a:cubicBezTo>
                    <a:pt x="1535" y="861"/>
                    <a:pt x="1535" y="861"/>
                    <a:pt x="1535" y="861"/>
                  </a:cubicBezTo>
                  <a:cubicBezTo>
                    <a:pt x="1535" y="642"/>
                    <a:pt x="1535" y="642"/>
                    <a:pt x="1535" y="642"/>
                  </a:cubicBezTo>
                  <a:lnTo>
                    <a:pt x="225" y="1812"/>
                  </a:lnTo>
                  <a:close/>
                </a:path>
              </a:pathLst>
            </a:custGeom>
            <a:grpFill/>
            <a:ln w="6350">
              <a:solidFill>
                <a:srgbClr val="F37022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14512980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Violet">
    <p:bg>
      <p:bgPr>
        <a:gradFill>
          <a:gsLst>
            <a:gs pos="52000">
              <a:schemeClr val="bg1">
                <a:alpha val="30000"/>
              </a:schemeClr>
            </a:gs>
            <a:gs pos="0">
              <a:schemeClr val="bg1">
                <a:alpha val="0"/>
              </a:schemeClr>
            </a:gs>
            <a:gs pos="100000">
              <a:schemeClr val="bg1">
                <a:alpha val="0"/>
              </a:schemeClr>
            </a:gs>
          </a:gsLst>
          <a:path path="shap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355FA9B-14CB-409A-8BC2-DDE02EE9A19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ru-RU"/>
          </a:p>
        </p:txBody>
      </p:sp>
      <p:sp>
        <p:nvSpPr>
          <p:cNvPr id="57" name="Title 1">
            <a:extLst>
              <a:ext uri="{FF2B5EF4-FFF2-40B4-BE49-F238E27FC236}">
                <a16:creationId xmlns:a16="http://schemas.microsoft.com/office/drawing/2014/main" id="{F910E70E-7EF3-42D3-8EA5-2187DFED77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852" y="1450975"/>
            <a:ext cx="6436447" cy="692497"/>
          </a:xfrm>
          <a:prstGeom prst="rect">
            <a:avLst/>
          </a:prstGeom>
          <a:effectLst/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4500">
                <a:solidFill>
                  <a:schemeClr val="bg1"/>
                </a:solidFill>
                <a:effectLst/>
              </a:defRPr>
            </a:lvl1pPr>
          </a:lstStyle>
          <a:p>
            <a:r>
              <a:rPr lang="ru-RU" dirty="0"/>
              <a:t>Название секции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1FC5BA4-B8E7-4B85-A4F0-4BA19DEAB3DA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black">
          <a:xfrm>
            <a:off x="10646376" y="6588000"/>
            <a:ext cx="1095624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59EC8520-FBFA-44EF-AED2-484097D86FE2}"/>
              </a:ext>
            </a:extLst>
          </p:cNvPr>
          <p:cNvGrpSpPr/>
          <p:nvPr userDrawn="1"/>
        </p:nvGrpSpPr>
        <p:grpSpPr>
          <a:xfrm>
            <a:off x="7216140" y="271463"/>
            <a:ext cx="4526598" cy="6046686"/>
            <a:chOff x="7465072" y="258763"/>
            <a:chExt cx="4268788" cy="5702300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5B6A28DF-A79B-4454-B870-5FA48FE056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87535" y="3862388"/>
              <a:ext cx="2346325" cy="2098675"/>
            </a:xfrm>
            <a:custGeom>
              <a:avLst/>
              <a:gdLst>
                <a:gd name="T0" fmla="*/ 1478 w 1478"/>
                <a:gd name="T1" fmla="*/ 383 h 1322"/>
                <a:gd name="T2" fmla="*/ 1478 w 1478"/>
                <a:gd name="T3" fmla="*/ 0 h 1322"/>
                <a:gd name="T4" fmla="*/ 0 w 1478"/>
                <a:gd name="T5" fmla="*/ 1322 h 1322"/>
                <a:gd name="T6" fmla="*/ 427 w 1478"/>
                <a:gd name="T7" fmla="*/ 1322 h 1322"/>
                <a:gd name="T8" fmla="*/ 1478 w 1478"/>
                <a:gd name="T9" fmla="*/ 383 h 1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8" h="1322">
                  <a:moveTo>
                    <a:pt x="1478" y="383"/>
                  </a:moveTo>
                  <a:lnTo>
                    <a:pt x="1478" y="0"/>
                  </a:lnTo>
                  <a:lnTo>
                    <a:pt x="0" y="1322"/>
                  </a:lnTo>
                  <a:lnTo>
                    <a:pt x="427" y="1322"/>
                  </a:lnTo>
                  <a:lnTo>
                    <a:pt x="1478" y="383"/>
                  </a:lnTo>
                  <a:close/>
                </a:path>
              </a:pathLst>
            </a:custGeom>
            <a:noFill/>
            <a:ln w="9525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ru-RU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4A7A3F6E-4A12-4FD6-94F9-7FE974CC58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65072" y="258763"/>
              <a:ext cx="4268788" cy="5692775"/>
            </a:xfrm>
            <a:custGeom>
              <a:avLst/>
              <a:gdLst>
                <a:gd name="T0" fmla="*/ 225 w 1535"/>
                <a:gd name="T1" fmla="*/ 1812 h 2048"/>
                <a:gd name="T2" fmla="*/ 194 w 1535"/>
                <a:gd name="T3" fmla="*/ 1743 h 2048"/>
                <a:gd name="T4" fmla="*/ 184 w 1535"/>
                <a:gd name="T5" fmla="*/ 1516 h 2048"/>
                <a:gd name="T6" fmla="*/ 305 w 1535"/>
                <a:gd name="T7" fmla="*/ 1318 h 2048"/>
                <a:gd name="T8" fmla="*/ 1535 w 1535"/>
                <a:gd name="T9" fmla="*/ 219 h 2048"/>
                <a:gd name="T10" fmla="*/ 1535 w 1535"/>
                <a:gd name="T11" fmla="*/ 0 h 2048"/>
                <a:gd name="T12" fmla="*/ 197 w 1535"/>
                <a:gd name="T13" fmla="*/ 1197 h 2048"/>
                <a:gd name="T14" fmla="*/ 63 w 1535"/>
                <a:gd name="T15" fmla="*/ 1375 h 2048"/>
                <a:gd name="T16" fmla="*/ 15 w 1535"/>
                <a:gd name="T17" fmla="*/ 1690 h 2048"/>
                <a:gd name="T18" fmla="*/ 152 w 1535"/>
                <a:gd name="T19" fmla="*/ 1987 h 2048"/>
                <a:gd name="T20" fmla="*/ 207 w 1535"/>
                <a:gd name="T21" fmla="*/ 2048 h 2048"/>
                <a:gd name="T22" fmla="*/ 1535 w 1535"/>
                <a:gd name="T23" fmla="*/ 861 h 2048"/>
                <a:gd name="T24" fmla="*/ 1535 w 1535"/>
                <a:gd name="T25" fmla="*/ 642 h 2048"/>
                <a:gd name="T26" fmla="*/ 225 w 1535"/>
                <a:gd name="T27" fmla="*/ 1812 h 20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35" h="2048">
                  <a:moveTo>
                    <a:pt x="225" y="1812"/>
                  </a:moveTo>
                  <a:cubicBezTo>
                    <a:pt x="213" y="1790"/>
                    <a:pt x="202" y="1767"/>
                    <a:pt x="194" y="1743"/>
                  </a:cubicBezTo>
                  <a:cubicBezTo>
                    <a:pt x="169" y="1670"/>
                    <a:pt x="166" y="1591"/>
                    <a:pt x="184" y="1516"/>
                  </a:cubicBezTo>
                  <a:cubicBezTo>
                    <a:pt x="203" y="1442"/>
                    <a:pt x="243" y="1373"/>
                    <a:pt x="305" y="1318"/>
                  </a:cubicBezTo>
                  <a:cubicBezTo>
                    <a:pt x="1535" y="219"/>
                    <a:pt x="1535" y="219"/>
                    <a:pt x="1535" y="219"/>
                  </a:cubicBezTo>
                  <a:cubicBezTo>
                    <a:pt x="1535" y="0"/>
                    <a:pt x="1535" y="0"/>
                    <a:pt x="1535" y="0"/>
                  </a:cubicBezTo>
                  <a:cubicBezTo>
                    <a:pt x="197" y="1197"/>
                    <a:pt x="197" y="1197"/>
                    <a:pt x="197" y="1197"/>
                  </a:cubicBezTo>
                  <a:cubicBezTo>
                    <a:pt x="139" y="1248"/>
                    <a:pt x="94" y="1309"/>
                    <a:pt x="63" y="1375"/>
                  </a:cubicBezTo>
                  <a:cubicBezTo>
                    <a:pt x="16" y="1474"/>
                    <a:pt x="0" y="1584"/>
                    <a:pt x="15" y="1690"/>
                  </a:cubicBezTo>
                  <a:cubicBezTo>
                    <a:pt x="29" y="1797"/>
                    <a:pt x="75" y="1901"/>
                    <a:pt x="152" y="1987"/>
                  </a:cubicBezTo>
                  <a:cubicBezTo>
                    <a:pt x="207" y="2048"/>
                    <a:pt x="207" y="2048"/>
                    <a:pt x="207" y="2048"/>
                  </a:cubicBezTo>
                  <a:cubicBezTo>
                    <a:pt x="1535" y="861"/>
                    <a:pt x="1535" y="861"/>
                    <a:pt x="1535" y="861"/>
                  </a:cubicBezTo>
                  <a:cubicBezTo>
                    <a:pt x="1535" y="642"/>
                    <a:pt x="1535" y="642"/>
                    <a:pt x="1535" y="642"/>
                  </a:cubicBezTo>
                  <a:lnTo>
                    <a:pt x="225" y="1812"/>
                  </a:lnTo>
                  <a:close/>
                </a:path>
              </a:pathLst>
            </a:custGeom>
            <a:noFill/>
            <a:ln w="9525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9134195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Grey">
    <p:bg>
      <p:bgPr>
        <a:gradFill>
          <a:gsLst>
            <a:gs pos="52000">
              <a:schemeClr val="bg1">
                <a:alpha val="30000"/>
              </a:schemeClr>
            </a:gs>
            <a:gs pos="0">
              <a:schemeClr val="bg1">
                <a:alpha val="0"/>
              </a:schemeClr>
            </a:gs>
            <a:gs pos="100000">
              <a:schemeClr val="bg1">
                <a:alpha val="0"/>
              </a:schemeClr>
            </a:gs>
          </a:gsLst>
          <a:path path="shap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355FA9B-14CB-409A-8BC2-DDE02EE9A19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ru-RU"/>
          </a:p>
        </p:txBody>
      </p:sp>
      <p:sp>
        <p:nvSpPr>
          <p:cNvPr id="57" name="Title 1">
            <a:extLst>
              <a:ext uri="{FF2B5EF4-FFF2-40B4-BE49-F238E27FC236}">
                <a16:creationId xmlns:a16="http://schemas.microsoft.com/office/drawing/2014/main" id="{F910E70E-7EF3-42D3-8EA5-2187DFED77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852" y="1450975"/>
            <a:ext cx="6436447" cy="692497"/>
          </a:xfrm>
          <a:prstGeom prst="rect">
            <a:avLst/>
          </a:prstGeom>
          <a:effectLst/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4500">
                <a:solidFill>
                  <a:schemeClr val="bg1"/>
                </a:solidFill>
                <a:effectLst/>
              </a:defRPr>
            </a:lvl1pPr>
          </a:lstStyle>
          <a:p>
            <a:r>
              <a:rPr lang="ru-RU" dirty="0"/>
              <a:t>Название секции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1FC5BA4-B8E7-4B85-A4F0-4BA19DEAB3DA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black">
          <a:xfrm>
            <a:off x="10646376" y="6588000"/>
            <a:ext cx="1095624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59EC8520-FBFA-44EF-AED2-484097D86FE2}"/>
              </a:ext>
            </a:extLst>
          </p:cNvPr>
          <p:cNvGrpSpPr/>
          <p:nvPr userDrawn="1"/>
        </p:nvGrpSpPr>
        <p:grpSpPr>
          <a:xfrm>
            <a:off x="7216140" y="271463"/>
            <a:ext cx="4526598" cy="6046686"/>
            <a:chOff x="7465072" y="258763"/>
            <a:chExt cx="4268788" cy="5702300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5B6A28DF-A79B-4454-B870-5FA48FE056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87535" y="3862388"/>
              <a:ext cx="2346325" cy="2098675"/>
            </a:xfrm>
            <a:custGeom>
              <a:avLst/>
              <a:gdLst>
                <a:gd name="T0" fmla="*/ 1478 w 1478"/>
                <a:gd name="T1" fmla="*/ 383 h 1322"/>
                <a:gd name="T2" fmla="*/ 1478 w 1478"/>
                <a:gd name="T3" fmla="*/ 0 h 1322"/>
                <a:gd name="T4" fmla="*/ 0 w 1478"/>
                <a:gd name="T5" fmla="*/ 1322 h 1322"/>
                <a:gd name="T6" fmla="*/ 427 w 1478"/>
                <a:gd name="T7" fmla="*/ 1322 h 1322"/>
                <a:gd name="T8" fmla="*/ 1478 w 1478"/>
                <a:gd name="T9" fmla="*/ 383 h 1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8" h="1322">
                  <a:moveTo>
                    <a:pt x="1478" y="383"/>
                  </a:moveTo>
                  <a:lnTo>
                    <a:pt x="1478" y="0"/>
                  </a:lnTo>
                  <a:lnTo>
                    <a:pt x="0" y="1322"/>
                  </a:lnTo>
                  <a:lnTo>
                    <a:pt x="427" y="1322"/>
                  </a:lnTo>
                  <a:lnTo>
                    <a:pt x="1478" y="383"/>
                  </a:lnTo>
                  <a:close/>
                </a:path>
              </a:pathLst>
            </a:custGeom>
            <a:noFill/>
            <a:ln w="9525">
              <a:solidFill>
                <a:srgbClr val="F37022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ru-RU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4A7A3F6E-4A12-4FD6-94F9-7FE974CC58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65072" y="258763"/>
              <a:ext cx="4268788" cy="5692775"/>
            </a:xfrm>
            <a:custGeom>
              <a:avLst/>
              <a:gdLst>
                <a:gd name="T0" fmla="*/ 225 w 1535"/>
                <a:gd name="T1" fmla="*/ 1812 h 2048"/>
                <a:gd name="T2" fmla="*/ 194 w 1535"/>
                <a:gd name="T3" fmla="*/ 1743 h 2048"/>
                <a:gd name="T4" fmla="*/ 184 w 1535"/>
                <a:gd name="T5" fmla="*/ 1516 h 2048"/>
                <a:gd name="T6" fmla="*/ 305 w 1535"/>
                <a:gd name="T7" fmla="*/ 1318 h 2048"/>
                <a:gd name="T8" fmla="*/ 1535 w 1535"/>
                <a:gd name="T9" fmla="*/ 219 h 2048"/>
                <a:gd name="T10" fmla="*/ 1535 w 1535"/>
                <a:gd name="T11" fmla="*/ 0 h 2048"/>
                <a:gd name="T12" fmla="*/ 197 w 1535"/>
                <a:gd name="T13" fmla="*/ 1197 h 2048"/>
                <a:gd name="T14" fmla="*/ 63 w 1535"/>
                <a:gd name="T15" fmla="*/ 1375 h 2048"/>
                <a:gd name="T16" fmla="*/ 15 w 1535"/>
                <a:gd name="T17" fmla="*/ 1690 h 2048"/>
                <a:gd name="T18" fmla="*/ 152 w 1535"/>
                <a:gd name="T19" fmla="*/ 1987 h 2048"/>
                <a:gd name="T20" fmla="*/ 207 w 1535"/>
                <a:gd name="T21" fmla="*/ 2048 h 2048"/>
                <a:gd name="T22" fmla="*/ 1535 w 1535"/>
                <a:gd name="T23" fmla="*/ 861 h 2048"/>
                <a:gd name="T24" fmla="*/ 1535 w 1535"/>
                <a:gd name="T25" fmla="*/ 642 h 2048"/>
                <a:gd name="T26" fmla="*/ 225 w 1535"/>
                <a:gd name="T27" fmla="*/ 1812 h 20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35" h="2048">
                  <a:moveTo>
                    <a:pt x="225" y="1812"/>
                  </a:moveTo>
                  <a:cubicBezTo>
                    <a:pt x="213" y="1790"/>
                    <a:pt x="202" y="1767"/>
                    <a:pt x="194" y="1743"/>
                  </a:cubicBezTo>
                  <a:cubicBezTo>
                    <a:pt x="169" y="1670"/>
                    <a:pt x="166" y="1591"/>
                    <a:pt x="184" y="1516"/>
                  </a:cubicBezTo>
                  <a:cubicBezTo>
                    <a:pt x="203" y="1442"/>
                    <a:pt x="243" y="1373"/>
                    <a:pt x="305" y="1318"/>
                  </a:cubicBezTo>
                  <a:cubicBezTo>
                    <a:pt x="1535" y="219"/>
                    <a:pt x="1535" y="219"/>
                    <a:pt x="1535" y="219"/>
                  </a:cubicBezTo>
                  <a:cubicBezTo>
                    <a:pt x="1535" y="0"/>
                    <a:pt x="1535" y="0"/>
                    <a:pt x="1535" y="0"/>
                  </a:cubicBezTo>
                  <a:cubicBezTo>
                    <a:pt x="197" y="1197"/>
                    <a:pt x="197" y="1197"/>
                    <a:pt x="197" y="1197"/>
                  </a:cubicBezTo>
                  <a:cubicBezTo>
                    <a:pt x="139" y="1248"/>
                    <a:pt x="94" y="1309"/>
                    <a:pt x="63" y="1375"/>
                  </a:cubicBezTo>
                  <a:cubicBezTo>
                    <a:pt x="16" y="1474"/>
                    <a:pt x="0" y="1584"/>
                    <a:pt x="15" y="1690"/>
                  </a:cubicBezTo>
                  <a:cubicBezTo>
                    <a:pt x="29" y="1797"/>
                    <a:pt x="75" y="1901"/>
                    <a:pt x="152" y="1987"/>
                  </a:cubicBezTo>
                  <a:cubicBezTo>
                    <a:pt x="207" y="2048"/>
                    <a:pt x="207" y="2048"/>
                    <a:pt x="207" y="2048"/>
                  </a:cubicBezTo>
                  <a:cubicBezTo>
                    <a:pt x="1535" y="861"/>
                    <a:pt x="1535" y="861"/>
                    <a:pt x="1535" y="861"/>
                  </a:cubicBezTo>
                  <a:cubicBezTo>
                    <a:pt x="1535" y="642"/>
                    <a:pt x="1535" y="642"/>
                    <a:pt x="1535" y="642"/>
                  </a:cubicBezTo>
                  <a:lnTo>
                    <a:pt x="225" y="1812"/>
                  </a:lnTo>
                  <a:close/>
                </a:path>
              </a:pathLst>
            </a:custGeom>
            <a:noFill/>
            <a:ln w="9525">
              <a:solidFill>
                <a:srgbClr val="F37022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25440824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Orange">
    <p:bg>
      <p:bgPr>
        <a:gradFill>
          <a:gsLst>
            <a:gs pos="52000">
              <a:schemeClr val="bg1">
                <a:alpha val="30000"/>
              </a:schemeClr>
            </a:gs>
            <a:gs pos="0">
              <a:schemeClr val="bg1">
                <a:alpha val="0"/>
              </a:schemeClr>
            </a:gs>
            <a:gs pos="100000">
              <a:schemeClr val="bg1">
                <a:alpha val="0"/>
              </a:schemeClr>
            </a:gs>
          </a:gsLst>
          <a:path path="shap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Rectangle 48">
            <a:extLst>
              <a:ext uri="{FF2B5EF4-FFF2-40B4-BE49-F238E27FC236}">
                <a16:creationId xmlns:a16="http://schemas.microsoft.com/office/drawing/2014/main" id="{F005BAEF-B9D8-47C9-BF2C-E928066DF3D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ru-RU"/>
          </a:p>
        </p:txBody>
      </p:sp>
      <p:sp>
        <p:nvSpPr>
          <p:cNvPr id="27" name="Freeform 7">
            <a:extLst>
              <a:ext uri="{FF2B5EF4-FFF2-40B4-BE49-F238E27FC236}">
                <a16:creationId xmlns:a16="http://schemas.microsoft.com/office/drawing/2014/main" id="{24352652-7CED-4E01-A38A-2673C0690CB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44345" y="876568"/>
            <a:ext cx="250772" cy="273992"/>
          </a:xfrm>
          <a:custGeom>
            <a:avLst/>
            <a:gdLst>
              <a:gd name="T0" fmla="*/ 1605 w 2235"/>
              <a:gd name="T1" fmla="*/ 92 h 2444"/>
              <a:gd name="T2" fmla="*/ 1165 w 2235"/>
              <a:gd name="T3" fmla="*/ 0 h 2444"/>
              <a:gd name="T4" fmla="*/ 333 w 2235"/>
              <a:gd name="T5" fmla="*/ 339 h 2444"/>
              <a:gd name="T6" fmla="*/ 1 w 2235"/>
              <a:gd name="T7" fmla="*/ 1236 h 2444"/>
              <a:gd name="T8" fmla="*/ 1 w 2235"/>
              <a:gd name="T9" fmla="*/ 1253 h 2444"/>
              <a:gd name="T10" fmla="*/ 328 w 2235"/>
              <a:gd name="T11" fmla="*/ 2119 h 2444"/>
              <a:gd name="T12" fmla="*/ 1174 w 2235"/>
              <a:gd name="T13" fmla="*/ 2444 h 2444"/>
              <a:gd name="T14" fmla="*/ 1658 w 2235"/>
              <a:gd name="T15" fmla="*/ 2360 h 2444"/>
              <a:gd name="T16" fmla="*/ 2109 w 2235"/>
              <a:gd name="T17" fmla="*/ 2036 h 2444"/>
              <a:gd name="T18" fmla="*/ 2140 w 2235"/>
              <a:gd name="T19" fmla="*/ 2001 h 2444"/>
              <a:gd name="T20" fmla="*/ 1851 w 2235"/>
              <a:gd name="T21" fmla="*/ 1719 h 2444"/>
              <a:gd name="T22" fmla="*/ 1817 w 2235"/>
              <a:gd name="T23" fmla="*/ 1754 h 2444"/>
              <a:gd name="T24" fmla="*/ 1540 w 2235"/>
              <a:gd name="T25" fmla="*/ 1972 h 2444"/>
              <a:gd name="T26" fmla="*/ 1172 w 2235"/>
              <a:gd name="T27" fmla="*/ 2048 h 2444"/>
              <a:gd name="T28" fmla="*/ 871 w 2235"/>
              <a:gd name="T29" fmla="*/ 1995 h 2444"/>
              <a:gd name="T30" fmla="*/ 558 w 2235"/>
              <a:gd name="T31" fmla="*/ 1738 h 2444"/>
              <a:gd name="T32" fmla="*/ 434 w 2235"/>
              <a:gd name="T33" fmla="*/ 1345 h 2444"/>
              <a:gd name="T34" fmla="*/ 2228 w 2235"/>
              <a:gd name="T35" fmla="*/ 1345 h 2444"/>
              <a:gd name="T36" fmla="*/ 2230 w 2235"/>
              <a:gd name="T37" fmla="*/ 1300 h 2444"/>
              <a:gd name="T38" fmla="*/ 2235 w 2235"/>
              <a:gd name="T39" fmla="*/ 1156 h 2444"/>
              <a:gd name="T40" fmla="*/ 1943 w 2235"/>
              <a:gd name="T41" fmla="*/ 341 h 2444"/>
              <a:gd name="T42" fmla="*/ 1605 w 2235"/>
              <a:gd name="T43" fmla="*/ 92 h 2444"/>
              <a:gd name="T44" fmla="*/ 673 w 2235"/>
              <a:gd name="T45" fmla="*/ 585 h 2444"/>
              <a:gd name="T46" fmla="*/ 1165 w 2235"/>
              <a:gd name="T47" fmla="*/ 406 h 2444"/>
              <a:gd name="T48" fmla="*/ 1606 w 2235"/>
              <a:gd name="T49" fmla="*/ 585 h 2444"/>
              <a:gd name="T50" fmla="*/ 1786 w 2235"/>
              <a:gd name="T51" fmla="*/ 964 h 2444"/>
              <a:gd name="T52" fmla="*/ 459 w 2235"/>
              <a:gd name="T53" fmla="*/ 964 h 2444"/>
              <a:gd name="T54" fmla="*/ 673 w 2235"/>
              <a:gd name="T55" fmla="*/ 585 h 24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2235" h="2444">
                <a:moveTo>
                  <a:pt x="1605" y="92"/>
                </a:moveTo>
                <a:cubicBezTo>
                  <a:pt x="1474" y="33"/>
                  <a:pt x="1325" y="0"/>
                  <a:pt x="1165" y="0"/>
                </a:cubicBezTo>
                <a:cubicBezTo>
                  <a:pt x="834" y="0"/>
                  <a:pt x="540" y="122"/>
                  <a:pt x="333" y="339"/>
                </a:cubicBezTo>
                <a:cubicBezTo>
                  <a:pt x="124" y="556"/>
                  <a:pt x="0" y="865"/>
                  <a:pt x="1" y="1236"/>
                </a:cubicBezTo>
                <a:cubicBezTo>
                  <a:pt x="1" y="1253"/>
                  <a:pt x="1" y="1253"/>
                  <a:pt x="1" y="1253"/>
                </a:cubicBezTo>
                <a:cubicBezTo>
                  <a:pt x="1" y="1610"/>
                  <a:pt x="120" y="1909"/>
                  <a:pt x="328" y="2119"/>
                </a:cubicBezTo>
                <a:cubicBezTo>
                  <a:pt x="536" y="2328"/>
                  <a:pt x="831" y="2444"/>
                  <a:pt x="1174" y="2444"/>
                </a:cubicBezTo>
                <a:cubicBezTo>
                  <a:pt x="1339" y="2444"/>
                  <a:pt x="1502" y="2423"/>
                  <a:pt x="1658" y="2360"/>
                </a:cubicBezTo>
                <a:cubicBezTo>
                  <a:pt x="1815" y="2298"/>
                  <a:pt x="1966" y="2195"/>
                  <a:pt x="2109" y="2036"/>
                </a:cubicBezTo>
                <a:cubicBezTo>
                  <a:pt x="2140" y="2001"/>
                  <a:pt x="2140" y="2001"/>
                  <a:pt x="2140" y="2001"/>
                </a:cubicBezTo>
                <a:cubicBezTo>
                  <a:pt x="1851" y="1719"/>
                  <a:pt x="1851" y="1719"/>
                  <a:pt x="1851" y="1719"/>
                </a:cubicBezTo>
                <a:cubicBezTo>
                  <a:pt x="1817" y="1754"/>
                  <a:pt x="1817" y="1754"/>
                  <a:pt x="1817" y="1754"/>
                </a:cubicBezTo>
                <a:cubicBezTo>
                  <a:pt x="1727" y="1849"/>
                  <a:pt x="1640" y="1922"/>
                  <a:pt x="1540" y="1972"/>
                </a:cubicBezTo>
                <a:cubicBezTo>
                  <a:pt x="1441" y="2021"/>
                  <a:pt x="1325" y="2048"/>
                  <a:pt x="1172" y="2048"/>
                </a:cubicBezTo>
                <a:cubicBezTo>
                  <a:pt x="1061" y="2048"/>
                  <a:pt x="960" y="2030"/>
                  <a:pt x="871" y="1995"/>
                </a:cubicBezTo>
                <a:cubicBezTo>
                  <a:pt x="739" y="1943"/>
                  <a:pt x="632" y="1856"/>
                  <a:pt x="558" y="1738"/>
                </a:cubicBezTo>
                <a:cubicBezTo>
                  <a:pt x="489" y="1631"/>
                  <a:pt x="447" y="1499"/>
                  <a:pt x="434" y="1345"/>
                </a:cubicBezTo>
                <a:cubicBezTo>
                  <a:pt x="2228" y="1345"/>
                  <a:pt x="2228" y="1345"/>
                  <a:pt x="2228" y="1345"/>
                </a:cubicBezTo>
                <a:cubicBezTo>
                  <a:pt x="2230" y="1300"/>
                  <a:pt x="2230" y="1300"/>
                  <a:pt x="2230" y="1300"/>
                </a:cubicBezTo>
                <a:cubicBezTo>
                  <a:pt x="2235" y="1232"/>
                  <a:pt x="2235" y="1156"/>
                  <a:pt x="2235" y="1156"/>
                </a:cubicBezTo>
                <a:cubicBezTo>
                  <a:pt x="2235" y="839"/>
                  <a:pt x="2130" y="551"/>
                  <a:pt x="1943" y="341"/>
                </a:cubicBezTo>
                <a:cubicBezTo>
                  <a:pt x="1850" y="236"/>
                  <a:pt x="1736" y="151"/>
                  <a:pt x="1605" y="92"/>
                </a:cubicBezTo>
                <a:close/>
                <a:moveTo>
                  <a:pt x="673" y="585"/>
                </a:moveTo>
                <a:cubicBezTo>
                  <a:pt x="800" y="475"/>
                  <a:pt x="974" y="406"/>
                  <a:pt x="1165" y="406"/>
                </a:cubicBezTo>
                <a:cubicBezTo>
                  <a:pt x="1337" y="406"/>
                  <a:pt x="1492" y="475"/>
                  <a:pt x="1606" y="585"/>
                </a:cubicBezTo>
                <a:cubicBezTo>
                  <a:pt x="1707" y="685"/>
                  <a:pt x="1774" y="817"/>
                  <a:pt x="1786" y="964"/>
                </a:cubicBezTo>
                <a:cubicBezTo>
                  <a:pt x="459" y="964"/>
                  <a:pt x="459" y="964"/>
                  <a:pt x="459" y="964"/>
                </a:cubicBezTo>
                <a:cubicBezTo>
                  <a:pt x="481" y="816"/>
                  <a:pt x="559" y="684"/>
                  <a:pt x="673" y="58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</a:pPr>
            <a:endParaRPr lang="ru-RU"/>
          </a:p>
        </p:txBody>
      </p:sp>
      <p:sp>
        <p:nvSpPr>
          <p:cNvPr id="28" name="Freeform 8">
            <a:extLst>
              <a:ext uri="{FF2B5EF4-FFF2-40B4-BE49-F238E27FC236}">
                <a16:creationId xmlns:a16="http://schemas.microsoft.com/office/drawing/2014/main" id="{D6FA87D3-7634-4D5B-A8A0-640F2931C443}"/>
              </a:ext>
            </a:extLst>
          </p:cNvPr>
          <p:cNvSpPr>
            <a:spLocks/>
          </p:cNvSpPr>
          <p:nvPr userDrawn="1"/>
        </p:nvSpPr>
        <p:spPr bwMode="auto">
          <a:xfrm>
            <a:off x="1357346" y="879819"/>
            <a:ext cx="220122" cy="264240"/>
          </a:xfrm>
          <a:custGeom>
            <a:avLst/>
            <a:gdLst>
              <a:gd name="T0" fmla="*/ 1608 w 1965"/>
              <a:gd name="T1" fmla="*/ 142 h 2354"/>
              <a:gd name="T2" fmla="*/ 1093 w 1965"/>
              <a:gd name="T3" fmla="*/ 0 h 2354"/>
              <a:gd name="T4" fmla="*/ 627 w 1965"/>
              <a:gd name="T5" fmla="*/ 122 h 2354"/>
              <a:gd name="T6" fmla="*/ 431 w 1965"/>
              <a:gd name="T7" fmla="*/ 293 h 2354"/>
              <a:gd name="T8" fmla="*/ 431 w 1965"/>
              <a:gd name="T9" fmla="*/ 35 h 2354"/>
              <a:gd name="T10" fmla="*/ 0 w 1965"/>
              <a:gd name="T11" fmla="*/ 35 h 2354"/>
              <a:gd name="T12" fmla="*/ 0 w 1965"/>
              <a:gd name="T13" fmla="*/ 2354 h 2354"/>
              <a:gd name="T14" fmla="*/ 431 w 1965"/>
              <a:gd name="T15" fmla="*/ 2354 h 2354"/>
              <a:gd name="T16" fmla="*/ 431 w 1965"/>
              <a:gd name="T17" fmla="*/ 979 h 2354"/>
              <a:gd name="T18" fmla="*/ 591 w 1965"/>
              <a:gd name="T19" fmla="*/ 562 h 2354"/>
              <a:gd name="T20" fmla="*/ 1009 w 1965"/>
              <a:gd name="T21" fmla="*/ 405 h 2354"/>
              <a:gd name="T22" fmla="*/ 1232 w 1965"/>
              <a:gd name="T23" fmla="*/ 443 h 2354"/>
              <a:gd name="T24" fmla="*/ 1456 w 1965"/>
              <a:gd name="T25" fmla="*/ 631 h 2354"/>
              <a:gd name="T26" fmla="*/ 1537 w 1965"/>
              <a:gd name="T27" fmla="*/ 956 h 2354"/>
              <a:gd name="T28" fmla="*/ 1537 w 1965"/>
              <a:gd name="T29" fmla="*/ 2354 h 2354"/>
              <a:gd name="T30" fmla="*/ 1965 w 1965"/>
              <a:gd name="T31" fmla="*/ 2354 h 2354"/>
              <a:gd name="T32" fmla="*/ 1965 w 1965"/>
              <a:gd name="T33" fmla="*/ 886 h 2354"/>
              <a:gd name="T34" fmla="*/ 1906 w 1965"/>
              <a:gd name="T35" fmla="*/ 528 h 2354"/>
              <a:gd name="T36" fmla="*/ 1608 w 1965"/>
              <a:gd name="T37" fmla="*/ 142 h 2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965" h="2354">
                <a:moveTo>
                  <a:pt x="1608" y="142"/>
                </a:moveTo>
                <a:cubicBezTo>
                  <a:pt x="1469" y="50"/>
                  <a:pt x="1295" y="0"/>
                  <a:pt x="1093" y="0"/>
                </a:cubicBezTo>
                <a:cubicBezTo>
                  <a:pt x="913" y="0"/>
                  <a:pt x="755" y="45"/>
                  <a:pt x="627" y="122"/>
                </a:cubicBezTo>
                <a:cubicBezTo>
                  <a:pt x="550" y="169"/>
                  <a:pt x="485" y="227"/>
                  <a:pt x="431" y="293"/>
                </a:cubicBezTo>
                <a:cubicBezTo>
                  <a:pt x="431" y="35"/>
                  <a:pt x="431" y="35"/>
                  <a:pt x="431" y="35"/>
                </a:cubicBezTo>
                <a:cubicBezTo>
                  <a:pt x="0" y="35"/>
                  <a:pt x="0" y="35"/>
                  <a:pt x="0" y="35"/>
                </a:cubicBezTo>
                <a:cubicBezTo>
                  <a:pt x="0" y="2354"/>
                  <a:pt x="0" y="2354"/>
                  <a:pt x="0" y="2354"/>
                </a:cubicBezTo>
                <a:cubicBezTo>
                  <a:pt x="431" y="2354"/>
                  <a:pt x="431" y="2354"/>
                  <a:pt x="431" y="2354"/>
                </a:cubicBezTo>
                <a:cubicBezTo>
                  <a:pt x="431" y="979"/>
                  <a:pt x="431" y="979"/>
                  <a:pt x="431" y="979"/>
                </a:cubicBezTo>
                <a:cubicBezTo>
                  <a:pt x="431" y="804"/>
                  <a:pt x="491" y="662"/>
                  <a:pt x="591" y="562"/>
                </a:cubicBezTo>
                <a:cubicBezTo>
                  <a:pt x="691" y="463"/>
                  <a:pt x="834" y="405"/>
                  <a:pt x="1009" y="405"/>
                </a:cubicBezTo>
                <a:cubicBezTo>
                  <a:pt x="1093" y="405"/>
                  <a:pt x="1168" y="419"/>
                  <a:pt x="1232" y="443"/>
                </a:cubicBezTo>
                <a:cubicBezTo>
                  <a:pt x="1329" y="481"/>
                  <a:pt x="1405" y="545"/>
                  <a:pt x="1456" y="631"/>
                </a:cubicBezTo>
                <a:cubicBezTo>
                  <a:pt x="1509" y="717"/>
                  <a:pt x="1537" y="826"/>
                  <a:pt x="1537" y="956"/>
                </a:cubicBezTo>
                <a:cubicBezTo>
                  <a:pt x="1537" y="2354"/>
                  <a:pt x="1537" y="2354"/>
                  <a:pt x="1537" y="2354"/>
                </a:cubicBezTo>
                <a:cubicBezTo>
                  <a:pt x="1965" y="2354"/>
                  <a:pt x="1965" y="2354"/>
                  <a:pt x="1965" y="2354"/>
                </a:cubicBezTo>
                <a:cubicBezTo>
                  <a:pt x="1965" y="886"/>
                  <a:pt x="1965" y="886"/>
                  <a:pt x="1965" y="886"/>
                </a:cubicBezTo>
                <a:cubicBezTo>
                  <a:pt x="1965" y="757"/>
                  <a:pt x="1944" y="636"/>
                  <a:pt x="1906" y="528"/>
                </a:cubicBezTo>
                <a:cubicBezTo>
                  <a:pt x="1848" y="367"/>
                  <a:pt x="1746" y="233"/>
                  <a:pt x="1608" y="14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</a:pPr>
            <a:endParaRPr lang="ru-RU"/>
          </a:p>
        </p:txBody>
      </p:sp>
      <p:sp>
        <p:nvSpPr>
          <p:cNvPr id="30" name="Freeform 9">
            <a:extLst>
              <a:ext uri="{FF2B5EF4-FFF2-40B4-BE49-F238E27FC236}">
                <a16:creationId xmlns:a16="http://schemas.microsoft.com/office/drawing/2014/main" id="{0067F2C1-0233-4392-A0A2-F7149189FBBB}"/>
              </a:ext>
            </a:extLst>
          </p:cNvPr>
          <p:cNvSpPr>
            <a:spLocks/>
          </p:cNvSpPr>
          <p:nvPr userDrawn="1"/>
        </p:nvSpPr>
        <p:spPr bwMode="auto">
          <a:xfrm>
            <a:off x="1649914" y="883998"/>
            <a:ext cx="48297" cy="260060"/>
          </a:xfrm>
          <a:custGeom>
            <a:avLst/>
            <a:gdLst>
              <a:gd name="T0" fmla="*/ 0 w 104"/>
              <a:gd name="T1" fmla="*/ 560 h 560"/>
              <a:gd name="T2" fmla="*/ 11 w 104"/>
              <a:gd name="T3" fmla="*/ 560 h 560"/>
              <a:gd name="T4" fmla="*/ 104 w 104"/>
              <a:gd name="T5" fmla="*/ 560 h 560"/>
              <a:gd name="T6" fmla="*/ 104 w 104"/>
              <a:gd name="T7" fmla="*/ 0 h 560"/>
              <a:gd name="T8" fmla="*/ 0 w 104"/>
              <a:gd name="T9" fmla="*/ 0 h 560"/>
              <a:gd name="T10" fmla="*/ 0 w 104"/>
              <a:gd name="T11" fmla="*/ 560 h 5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4" h="560">
                <a:moveTo>
                  <a:pt x="0" y="560"/>
                </a:moveTo>
                <a:lnTo>
                  <a:pt x="11" y="560"/>
                </a:lnTo>
                <a:lnTo>
                  <a:pt x="104" y="560"/>
                </a:lnTo>
                <a:lnTo>
                  <a:pt x="104" y="0"/>
                </a:lnTo>
                <a:lnTo>
                  <a:pt x="0" y="0"/>
                </a:lnTo>
                <a:lnTo>
                  <a:pt x="0" y="5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</a:pPr>
            <a:endParaRPr lang="ru-RU"/>
          </a:p>
        </p:txBody>
      </p:sp>
      <p:sp>
        <p:nvSpPr>
          <p:cNvPr id="32" name="Freeform 10">
            <a:extLst>
              <a:ext uri="{FF2B5EF4-FFF2-40B4-BE49-F238E27FC236}">
                <a16:creationId xmlns:a16="http://schemas.microsoft.com/office/drawing/2014/main" id="{5301D919-DB72-4141-A834-8663C3A8C1A2}"/>
              </a:ext>
            </a:extLst>
          </p:cNvPr>
          <p:cNvSpPr>
            <a:spLocks/>
          </p:cNvSpPr>
          <p:nvPr userDrawn="1"/>
        </p:nvSpPr>
        <p:spPr bwMode="auto">
          <a:xfrm>
            <a:off x="1751616" y="883998"/>
            <a:ext cx="251237" cy="260060"/>
          </a:xfrm>
          <a:custGeom>
            <a:avLst/>
            <a:gdLst>
              <a:gd name="T0" fmla="*/ 328 w 541"/>
              <a:gd name="T1" fmla="*/ 262 h 560"/>
              <a:gd name="T2" fmla="*/ 523 w 541"/>
              <a:gd name="T3" fmla="*/ 0 h 560"/>
              <a:gd name="T4" fmla="*/ 405 w 541"/>
              <a:gd name="T5" fmla="*/ 0 h 560"/>
              <a:gd name="T6" fmla="*/ 270 w 541"/>
              <a:gd name="T7" fmla="*/ 182 h 560"/>
              <a:gd name="T8" fmla="*/ 134 w 541"/>
              <a:gd name="T9" fmla="*/ 0 h 560"/>
              <a:gd name="T10" fmla="*/ 17 w 541"/>
              <a:gd name="T11" fmla="*/ 0 h 560"/>
              <a:gd name="T12" fmla="*/ 213 w 541"/>
              <a:gd name="T13" fmla="*/ 263 h 560"/>
              <a:gd name="T14" fmla="*/ 0 w 541"/>
              <a:gd name="T15" fmla="*/ 560 h 560"/>
              <a:gd name="T16" fmla="*/ 116 w 541"/>
              <a:gd name="T17" fmla="*/ 560 h 560"/>
              <a:gd name="T18" fmla="*/ 271 w 541"/>
              <a:gd name="T19" fmla="*/ 345 h 560"/>
              <a:gd name="T20" fmla="*/ 424 w 541"/>
              <a:gd name="T21" fmla="*/ 560 h 560"/>
              <a:gd name="T22" fmla="*/ 541 w 541"/>
              <a:gd name="T23" fmla="*/ 560 h 560"/>
              <a:gd name="T24" fmla="*/ 328 w 541"/>
              <a:gd name="T25" fmla="*/ 262 h 5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41" h="560">
                <a:moveTo>
                  <a:pt x="328" y="262"/>
                </a:moveTo>
                <a:lnTo>
                  <a:pt x="523" y="0"/>
                </a:lnTo>
                <a:lnTo>
                  <a:pt x="405" y="0"/>
                </a:lnTo>
                <a:lnTo>
                  <a:pt x="270" y="182"/>
                </a:lnTo>
                <a:lnTo>
                  <a:pt x="134" y="0"/>
                </a:lnTo>
                <a:lnTo>
                  <a:pt x="17" y="0"/>
                </a:lnTo>
                <a:lnTo>
                  <a:pt x="213" y="263"/>
                </a:lnTo>
                <a:lnTo>
                  <a:pt x="0" y="560"/>
                </a:lnTo>
                <a:lnTo>
                  <a:pt x="116" y="560"/>
                </a:lnTo>
                <a:lnTo>
                  <a:pt x="271" y="345"/>
                </a:lnTo>
                <a:lnTo>
                  <a:pt x="424" y="560"/>
                </a:lnTo>
                <a:lnTo>
                  <a:pt x="541" y="560"/>
                </a:lnTo>
                <a:lnTo>
                  <a:pt x="328" y="2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</a:pPr>
            <a:endParaRPr lang="ru-RU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743C00E-A154-4076-B5C9-C80024FC05E4}"/>
              </a:ext>
            </a:extLst>
          </p:cNvPr>
          <p:cNvGrpSpPr/>
          <p:nvPr userDrawn="1"/>
        </p:nvGrpSpPr>
        <p:grpSpPr>
          <a:xfrm>
            <a:off x="450851" y="271463"/>
            <a:ext cx="566560" cy="880026"/>
            <a:chOff x="450851" y="271463"/>
            <a:chExt cx="566560" cy="880026"/>
          </a:xfrm>
          <a:solidFill>
            <a:srgbClr val="000000"/>
          </a:solidFill>
        </p:grpSpPr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7E92C0FE-3D21-4620-AC90-231FCAD3827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50851" y="876568"/>
              <a:ext cx="262382" cy="274921"/>
            </a:xfrm>
            <a:custGeom>
              <a:avLst/>
              <a:gdLst>
                <a:gd name="T0" fmla="*/ 1914 w 2342"/>
                <a:gd name="T1" fmla="*/ 297 h 2452"/>
                <a:gd name="T2" fmla="*/ 1714 w 2342"/>
                <a:gd name="T3" fmla="*/ 134 h 2452"/>
                <a:gd name="T4" fmla="*/ 1172 w 2342"/>
                <a:gd name="T5" fmla="*/ 0 h 2452"/>
                <a:gd name="T6" fmla="*/ 342 w 2342"/>
                <a:gd name="T7" fmla="*/ 349 h 2452"/>
                <a:gd name="T8" fmla="*/ 0 w 2342"/>
                <a:gd name="T9" fmla="*/ 1225 h 2452"/>
                <a:gd name="T10" fmla="*/ 343 w 2342"/>
                <a:gd name="T11" fmla="*/ 2103 h 2452"/>
                <a:gd name="T12" fmla="*/ 1173 w 2342"/>
                <a:gd name="T13" fmla="*/ 2452 h 2452"/>
                <a:gd name="T14" fmla="*/ 1715 w 2342"/>
                <a:gd name="T15" fmla="*/ 2318 h 2452"/>
                <a:gd name="T16" fmla="*/ 1915 w 2342"/>
                <a:gd name="T17" fmla="*/ 2154 h 2452"/>
                <a:gd name="T18" fmla="*/ 1915 w 2342"/>
                <a:gd name="T19" fmla="*/ 2386 h 2452"/>
                <a:gd name="T20" fmla="*/ 2342 w 2342"/>
                <a:gd name="T21" fmla="*/ 2386 h 2452"/>
                <a:gd name="T22" fmla="*/ 2342 w 2342"/>
                <a:gd name="T23" fmla="*/ 66 h 2452"/>
                <a:gd name="T24" fmla="*/ 1915 w 2342"/>
                <a:gd name="T25" fmla="*/ 66 h 2452"/>
                <a:gd name="T26" fmla="*/ 1914 w 2342"/>
                <a:gd name="T27" fmla="*/ 297 h 2452"/>
                <a:gd name="T28" fmla="*/ 1177 w 2342"/>
                <a:gd name="T29" fmla="*/ 2047 h 2452"/>
                <a:gd name="T30" fmla="*/ 644 w 2342"/>
                <a:gd name="T31" fmla="*/ 1813 h 2452"/>
                <a:gd name="T32" fmla="*/ 431 w 2342"/>
                <a:gd name="T33" fmla="*/ 1225 h 2452"/>
                <a:gd name="T34" fmla="*/ 644 w 2342"/>
                <a:gd name="T35" fmla="*/ 638 h 2452"/>
                <a:gd name="T36" fmla="*/ 1177 w 2342"/>
                <a:gd name="T37" fmla="*/ 404 h 2452"/>
                <a:gd name="T38" fmla="*/ 1731 w 2342"/>
                <a:gd name="T39" fmla="*/ 639 h 2452"/>
                <a:gd name="T40" fmla="*/ 1954 w 2342"/>
                <a:gd name="T41" fmla="*/ 1225 h 2452"/>
                <a:gd name="T42" fmla="*/ 1731 w 2342"/>
                <a:gd name="T43" fmla="*/ 1812 h 2452"/>
                <a:gd name="T44" fmla="*/ 1177 w 2342"/>
                <a:gd name="T45" fmla="*/ 2047 h 2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342" h="2452">
                  <a:moveTo>
                    <a:pt x="1914" y="297"/>
                  </a:moveTo>
                  <a:cubicBezTo>
                    <a:pt x="1861" y="238"/>
                    <a:pt x="1795" y="181"/>
                    <a:pt x="1714" y="134"/>
                  </a:cubicBezTo>
                  <a:cubicBezTo>
                    <a:pt x="1577" y="54"/>
                    <a:pt x="1398" y="0"/>
                    <a:pt x="1172" y="0"/>
                  </a:cubicBezTo>
                  <a:cubicBezTo>
                    <a:pt x="848" y="0"/>
                    <a:pt x="554" y="130"/>
                    <a:pt x="342" y="349"/>
                  </a:cubicBezTo>
                  <a:cubicBezTo>
                    <a:pt x="130" y="567"/>
                    <a:pt x="0" y="874"/>
                    <a:pt x="0" y="1225"/>
                  </a:cubicBezTo>
                  <a:cubicBezTo>
                    <a:pt x="0" y="1577"/>
                    <a:pt x="130" y="1884"/>
                    <a:pt x="343" y="2103"/>
                  </a:cubicBezTo>
                  <a:cubicBezTo>
                    <a:pt x="555" y="2321"/>
                    <a:pt x="849" y="2452"/>
                    <a:pt x="1173" y="2452"/>
                  </a:cubicBezTo>
                  <a:cubicBezTo>
                    <a:pt x="1399" y="2452"/>
                    <a:pt x="1578" y="2398"/>
                    <a:pt x="1715" y="2318"/>
                  </a:cubicBezTo>
                  <a:cubicBezTo>
                    <a:pt x="1796" y="2270"/>
                    <a:pt x="1862" y="2214"/>
                    <a:pt x="1915" y="2154"/>
                  </a:cubicBezTo>
                  <a:cubicBezTo>
                    <a:pt x="1915" y="2386"/>
                    <a:pt x="1915" y="2386"/>
                    <a:pt x="1915" y="2386"/>
                  </a:cubicBezTo>
                  <a:cubicBezTo>
                    <a:pt x="2342" y="2386"/>
                    <a:pt x="2342" y="2386"/>
                    <a:pt x="2342" y="2386"/>
                  </a:cubicBezTo>
                  <a:cubicBezTo>
                    <a:pt x="2342" y="66"/>
                    <a:pt x="2342" y="66"/>
                    <a:pt x="2342" y="66"/>
                  </a:cubicBezTo>
                  <a:cubicBezTo>
                    <a:pt x="1915" y="66"/>
                    <a:pt x="1915" y="66"/>
                    <a:pt x="1915" y="66"/>
                  </a:cubicBezTo>
                  <a:cubicBezTo>
                    <a:pt x="1914" y="297"/>
                    <a:pt x="1914" y="297"/>
                    <a:pt x="1914" y="297"/>
                  </a:cubicBezTo>
                  <a:close/>
                  <a:moveTo>
                    <a:pt x="1177" y="2047"/>
                  </a:moveTo>
                  <a:cubicBezTo>
                    <a:pt x="961" y="2047"/>
                    <a:pt x="776" y="1959"/>
                    <a:pt x="644" y="1813"/>
                  </a:cubicBezTo>
                  <a:cubicBezTo>
                    <a:pt x="511" y="1667"/>
                    <a:pt x="431" y="1462"/>
                    <a:pt x="431" y="1225"/>
                  </a:cubicBezTo>
                  <a:cubicBezTo>
                    <a:pt x="431" y="989"/>
                    <a:pt x="512" y="784"/>
                    <a:pt x="644" y="638"/>
                  </a:cubicBezTo>
                  <a:cubicBezTo>
                    <a:pt x="776" y="492"/>
                    <a:pt x="961" y="404"/>
                    <a:pt x="1177" y="404"/>
                  </a:cubicBezTo>
                  <a:cubicBezTo>
                    <a:pt x="1400" y="404"/>
                    <a:pt x="1593" y="492"/>
                    <a:pt x="1731" y="639"/>
                  </a:cubicBezTo>
                  <a:cubicBezTo>
                    <a:pt x="1870" y="784"/>
                    <a:pt x="1954" y="990"/>
                    <a:pt x="1954" y="1225"/>
                  </a:cubicBezTo>
                  <a:cubicBezTo>
                    <a:pt x="1954" y="1461"/>
                    <a:pt x="1870" y="1666"/>
                    <a:pt x="1731" y="1812"/>
                  </a:cubicBezTo>
                  <a:cubicBezTo>
                    <a:pt x="1593" y="1959"/>
                    <a:pt x="1400" y="2047"/>
                    <a:pt x="1177" y="20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>
                <a:lnSpc>
                  <a:spcPct val="100000"/>
                </a:lnSpc>
                <a:spcBef>
                  <a:spcPts val="0"/>
                </a:spcBef>
              </a:pPr>
              <a:endParaRPr lang="ru-RU"/>
            </a:p>
          </p:txBody>
        </p:sp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D82E090B-EB79-458D-97CE-842B9B99D3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6174" y="883998"/>
              <a:ext cx="251237" cy="260060"/>
            </a:xfrm>
            <a:custGeom>
              <a:avLst/>
              <a:gdLst>
                <a:gd name="T0" fmla="*/ 523 w 541"/>
                <a:gd name="T1" fmla="*/ 0 h 560"/>
                <a:gd name="T2" fmla="*/ 500 w 541"/>
                <a:gd name="T3" fmla="*/ 0 h 560"/>
                <a:gd name="T4" fmla="*/ 405 w 541"/>
                <a:gd name="T5" fmla="*/ 0 h 560"/>
                <a:gd name="T6" fmla="*/ 270 w 541"/>
                <a:gd name="T7" fmla="*/ 182 h 560"/>
                <a:gd name="T8" fmla="*/ 134 w 541"/>
                <a:gd name="T9" fmla="*/ 0 h 560"/>
                <a:gd name="T10" fmla="*/ 17 w 541"/>
                <a:gd name="T11" fmla="*/ 0 h 560"/>
                <a:gd name="T12" fmla="*/ 213 w 541"/>
                <a:gd name="T13" fmla="*/ 263 h 560"/>
                <a:gd name="T14" fmla="*/ 0 w 541"/>
                <a:gd name="T15" fmla="*/ 560 h 560"/>
                <a:gd name="T16" fmla="*/ 116 w 541"/>
                <a:gd name="T17" fmla="*/ 560 h 560"/>
                <a:gd name="T18" fmla="*/ 271 w 541"/>
                <a:gd name="T19" fmla="*/ 345 h 560"/>
                <a:gd name="T20" fmla="*/ 423 w 541"/>
                <a:gd name="T21" fmla="*/ 560 h 560"/>
                <a:gd name="T22" fmla="*/ 541 w 541"/>
                <a:gd name="T23" fmla="*/ 560 h 560"/>
                <a:gd name="T24" fmla="*/ 328 w 541"/>
                <a:gd name="T25" fmla="*/ 262 h 560"/>
                <a:gd name="T26" fmla="*/ 523 w 541"/>
                <a:gd name="T27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41" h="560">
                  <a:moveTo>
                    <a:pt x="523" y="0"/>
                  </a:moveTo>
                  <a:lnTo>
                    <a:pt x="500" y="0"/>
                  </a:lnTo>
                  <a:lnTo>
                    <a:pt x="405" y="0"/>
                  </a:lnTo>
                  <a:lnTo>
                    <a:pt x="270" y="182"/>
                  </a:lnTo>
                  <a:lnTo>
                    <a:pt x="134" y="0"/>
                  </a:lnTo>
                  <a:lnTo>
                    <a:pt x="17" y="0"/>
                  </a:lnTo>
                  <a:lnTo>
                    <a:pt x="213" y="263"/>
                  </a:lnTo>
                  <a:lnTo>
                    <a:pt x="0" y="560"/>
                  </a:lnTo>
                  <a:lnTo>
                    <a:pt x="116" y="560"/>
                  </a:lnTo>
                  <a:lnTo>
                    <a:pt x="271" y="345"/>
                  </a:lnTo>
                  <a:lnTo>
                    <a:pt x="423" y="560"/>
                  </a:lnTo>
                  <a:lnTo>
                    <a:pt x="541" y="560"/>
                  </a:lnTo>
                  <a:lnTo>
                    <a:pt x="328" y="262"/>
                  </a:lnTo>
                  <a:lnTo>
                    <a:pt x="52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>
                <a:lnSpc>
                  <a:spcPct val="100000"/>
                </a:lnSpc>
                <a:spcBef>
                  <a:spcPts val="0"/>
                </a:spcBef>
              </a:pPr>
              <a:endParaRPr lang="ru-RU"/>
            </a:p>
          </p:txBody>
        </p:sp>
        <p:sp>
          <p:nvSpPr>
            <p:cNvPr id="33" name="Freeform 11">
              <a:extLst>
                <a:ext uri="{FF2B5EF4-FFF2-40B4-BE49-F238E27FC236}">
                  <a16:creationId xmlns:a16="http://schemas.microsoft.com/office/drawing/2014/main" id="{49DC5251-9201-4E34-9536-BB68CE6CEA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4101" y="271463"/>
              <a:ext cx="406344" cy="544734"/>
            </a:xfrm>
            <a:custGeom>
              <a:avLst/>
              <a:gdLst>
                <a:gd name="T0" fmla="*/ 535 w 3625"/>
                <a:gd name="T1" fmla="*/ 4303 h 4860"/>
                <a:gd name="T2" fmla="*/ 459 w 3625"/>
                <a:gd name="T3" fmla="*/ 4139 h 4860"/>
                <a:gd name="T4" fmla="*/ 435 w 3625"/>
                <a:gd name="T5" fmla="*/ 3604 h 4860"/>
                <a:gd name="T6" fmla="*/ 718 w 3625"/>
                <a:gd name="T7" fmla="*/ 3134 h 4860"/>
                <a:gd name="T8" fmla="*/ 3624 w 3625"/>
                <a:gd name="T9" fmla="*/ 518 h 4860"/>
                <a:gd name="T10" fmla="*/ 3624 w 3625"/>
                <a:gd name="T11" fmla="*/ 0 h 4860"/>
                <a:gd name="T12" fmla="*/ 461 w 3625"/>
                <a:gd name="T13" fmla="*/ 2848 h 4860"/>
                <a:gd name="T14" fmla="*/ 148 w 3625"/>
                <a:gd name="T15" fmla="*/ 3271 h 4860"/>
                <a:gd name="T16" fmla="*/ 36 w 3625"/>
                <a:gd name="T17" fmla="*/ 4016 h 4860"/>
                <a:gd name="T18" fmla="*/ 363 w 3625"/>
                <a:gd name="T19" fmla="*/ 4717 h 4860"/>
                <a:gd name="T20" fmla="*/ 363 w 3625"/>
                <a:gd name="T21" fmla="*/ 4717 h 4860"/>
                <a:gd name="T22" fmla="*/ 493 w 3625"/>
                <a:gd name="T23" fmla="*/ 4860 h 4860"/>
                <a:gd name="T24" fmla="*/ 3625 w 3625"/>
                <a:gd name="T25" fmla="*/ 2040 h 4860"/>
                <a:gd name="T26" fmla="*/ 3625 w 3625"/>
                <a:gd name="T27" fmla="*/ 1522 h 4860"/>
                <a:gd name="T28" fmla="*/ 535 w 3625"/>
                <a:gd name="T29" fmla="*/ 4303 h 4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25" h="4860">
                  <a:moveTo>
                    <a:pt x="535" y="4303"/>
                  </a:moveTo>
                  <a:cubicBezTo>
                    <a:pt x="505" y="4250"/>
                    <a:pt x="479" y="4195"/>
                    <a:pt x="459" y="4139"/>
                  </a:cubicBezTo>
                  <a:cubicBezTo>
                    <a:pt x="399" y="3966"/>
                    <a:pt x="392" y="3780"/>
                    <a:pt x="435" y="3604"/>
                  </a:cubicBezTo>
                  <a:cubicBezTo>
                    <a:pt x="479" y="3428"/>
                    <a:pt x="573" y="3264"/>
                    <a:pt x="718" y="3134"/>
                  </a:cubicBezTo>
                  <a:cubicBezTo>
                    <a:pt x="3624" y="518"/>
                    <a:pt x="3624" y="518"/>
                    <a:pt x="3624" y="518"/>
                  </a:cubicBezTo>
                  <a:cubicBezTo>
                    <a:pt x="3624" y="0"/>
                    <a:pt x="3624" y="0"/>
                    <a:pt x="3624" y="0"/>
                  </a:cubicBezTo>
                  <a:cubicBezTo>
                    <a:pt x="461" y="2848"/>
                    <a:pt x="461" y="2848"/>
                    <a:pt x="461" y="2848"/>
                  </a:cubicBezTo>
                  <a:cubicBezTo>
                    <a:pt x="326" y="2970"/>
                    <a:pt x="220" y="3115"/>
                    <a:pt x="148" y="3271"/>
                  </a:cubicBezTo>
                  <a:cubicBezTo>
                    <a:pt x="38" y="3505"/>
                    <a:pt x="0" y="3764"/>
                    <a:pt x="36" y="4016"/>
                  </a:cubicBezTo>
                  <a:cubicBezTo>
                    <a:pt x="71" y="4268"/>
                    <a:pt x="180" y="4514"/>
                    <a:pt x="363" y="4717"/>
                  </a:cubicBezTo>
                  <a:cubicBezTo>
                    <a:pt x="363" y="4717"/>
                    <a:pt x="363" y="4717"/>
                    <a:pt x="363" y="4717"/>
                  </a:cubicBezTo>
                  <a:cubicBezTo>
                    <a:pt x="493" y="4860"/>
                    <a:pt x="493" y="4860"/>
                    <a:pt x="493" y="4860"/>
                  </a:cubicBezTo>
                  <a:cubicBezTo>
                    <a:pt x="3625" y="2040"/>
                    <a:pt x="3625" y="2040"/>
                    <a:pt x="3625" y="2040"/>
                  </a:cubicBezTo>
                  <a:cubicBezTo>
                    <a:pt x="3625" y="1522"/>
                    <a:pt x="3625" y="1522"/>
                    <a:pt x="3625" y="1522"/>
                  </a:cubicBezTo>
                  <a:lnTo>
                    <a:pt x="535" y="43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>
                <a:lnSpc>
                  <a:spcPct val="100000"/>
                </a:lnSpc>
                <a:spcBef>
                  <a:spcPts val="0"/>
                </a:spcBef>
              </a:pPr>
              <a:endParaRPr lang="ru-RU"/>
            </a:p>
          </p:txBody>
        </p:sp>
        <p:sp>
          <p:nvSpPr>
            <p:cNvPr id="34" name="Freeform 12">
              <a:extLst>
                <a:ext uri="{FF2B5EF4-FFF2-40B4-BE49-F238E27FC236}">
                  <a16:creationId xmlns:a16="http://schemas.microsoft.com/office/drawing/2014/main" id="{9F0E9785-025D-468E-96CB-1CA22C0743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7536" y="616508"/>
              <a:ext cx="221980" cy="199689"/>
            </a:xfrm>
            <a:custGeom>
              <a:avLst/>
              <a:gdLst>
                <a:gd name="T0" fmla="*/ 0 w 478"/>
                <a:gd name="T1" fmla="*/ 430 h 430"/>
                <a:gd name="T2" fmla="*/ 140 w 478"/>
                <a:gd name="T3" fmla="*/ 430 h 430"/>
                <a:gd name="T4" fmla="*/ 478 w 478"/>
                <a:gd name="T5" fmla="*/ 125 h 430"/>
                <a:gd name="T6" fmla="*/ 478 w 478"/>
                <a:gd name="T7" fmla="*/ 0 h 430"/>
                <a:gd name="T8" fmla="*/ 0 w 478"/>
                <a:gd name="T9" fmla="*/ 43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8" h="430">
                  <a:moveTo>
                    <a:pt x="0" y="430"/>
                  </a:moveTo>
                  <a:lnTo>
                    <a:pt x="140" y="430"/>
                  </a:lnTo>
                  <a:lnTo>
                    <a:pt x="478" y="125"/>
                  </a:lnTo>
                  <a:lnTo>
                    <a:pt x="478" y="0"/>
                  </a:lnTo>
                  <a:lnTo>
                    <a:pt x="0" y="4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>
                <a:lnSpc>
                  <a:spcPct val="100000"/>
                </a:lnSpc>
                <a:spcBef>
                  <a:spcPts val="0"/>
                </a:spcBef>
              </a:pPr>
              <a:endParaRPr lang="ru-RU"/>
            </a:p>
          </p:txBody>
        </p:sp>
      </p:grpSp>
      <p:sp>
        <p:nvSpPr>
          <p:cNvPr id="35" name="Rectangle 34">
            <a:extLst>
              <a:ext uri="{FF2B5EF4-FFF2-40B4-BE49-F238E27FC236}">
                <a16:creationId xmlns:a16="http://schemas.microsoft.com/office/drawing/2014/main" id="{7BF6D185-3C45-4755-9985-C3FDC649933D}"/>
              </a:ext>
            </a:extLst>
          </p:cNvPr>
          <p:cNvSpPr>
            <a:spLocks/>
          </p:cNvSpPr>
          <p:nvPr userDrawn="1"/>
        </p:nvSpPr>
        <p:spPr>
          <a:xfrm>
            <a:off x="450850" y="5038794"/>
            <a:ext cx="7406964" cy="129266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ru-RU" sz="1400" b="1" dirty="0">
                <a:solidFill>
                  <a:schemeClr val="bg1"/>
                </a:solidFill>
              </a:rPr>
              <a:t>О компании </a:t>
            </a:r>
            <a:r>
              <a:rPr lang="en-US" sz="1400" b="1" dirty="0">
                <a:solidFill>
                  <a:schemeClr val="bg1"/>
                </a:solidFill>
              </a:rPr>
              <a:t>AXENIX</a:t>
            </a:r>
            <a:endParaRPr lang="ru-RU" sz="1400" b="1" dirty="0">
              <a:solidFill>
                <a:schemeClr val="bg1"/>
              </a:solidFill>
            </a:endParaRPr>
          </a:p>
          <a:p>
            <a:pPr>
              <a:spcAft>
                <a:spcPts val="1200"/>
              </a:spcAft>
            </a:pPr>
            <a:r>
              <a:rPr lang="en-US" sz="1000" dirty="0">
                <a:solidFill>
                  <a:schemeClr val="bg1"/>
                </a:solidFill>
                <a:effectLst/>
                <a:latin typeface="+mn-lt"/>
                <a:ea typeface="Calibri" panose="020F0502020204030204" pitchFamily="34" charset="0"/>
              </a:rPr>
              <a:t>AXENIX </a:t>
            </a:r>
            <a:r>
              <a:rPr lang="ru-RU" sz="1000" dirty="0">
                <a:solidFill>
                  <a:schemeClr val="bg1"/>
                </a:solidFill>
                <a:effectLst/>
                <a:latin typeface="+mn-lt"/>
                <a:ea typeface="Calibri" panose="020F0502020204030204" pitchFamily="34" charset="0"/>
              </a:rPr>
              <a:t>(ex-Accenture) – российская компания, предоставляющая широкий спектр профессиональных услуг</a:t>
            </a:r>
            <a:br>
              <a:rPr lang="ru-RU" sz="1000" dirty="0">
                <a:solidFill>
                  <a:schemeClr val="bg1"/>
                </a:solidFill>
                <a:effectLst/>
                <a:latin typeface="+mn-lt"/>
                <a:ea typeface="Calibri" panose="020F0502020204030204" pitchFamily="34" charset="0"/>
              </a:rPr>
            </a:br>
            <a:r>
              <a:rPr lang="ru-RU" sz="1000" dirty="0">
                <a:solidFill>
                  <a:schemeClr val="bg1"/>
                </a:solidFill>
                <a:effectLst/>
                <a:latin typeface="+mn-lt"/>
                <a:ea typeface="Calibri" panose="020F0502020204030204" pitchFamily="34" charset="0"/>
              </a:rPr>
              <a:t>в области цифровых сервисов, облачных технологий и решений для обеспечения информационной безопасности.</a:t>
            </a:r>
            <a:br>
              <a:rPr lang="ru-RU" sz="1000" dirty="0">
                <a:solidFill>
                  <a:schemeClr val="bg1"/>
                </a:solidFill>
                <a:effectLst/>
                <a:latin typeface="+mn-lt"/>
                <a:ea typeface="Calibri" panose="020F0502020204030204" pitchFamily="34" charset="0"/>
              </a:rPr>
            </a:br>
            <a:r>
              <a:rPr lang="ru-RU" sz="1000" dirty="0">
                <a:solidFill>
                  <a:schemeClr val="bg1"/>
                </a:solidFill>
                <a:effectLst/>
                <a:latin typeface="+mn-lt"/>
                <a:ea typeface="Calibri" panose="020F0502020204030204" pitchFamily="34" charset="0"/>
              </a:rPr>
              <a:t>В офисах и центрах разработки в Москве, Твери, Ростове-на-Дону, Краснодаре, Санкт-Петербурге и Алматы работают около 2 000 сотрудников. Благодаря сочетанию уникальных знаний, опыта и компетенций более чем в 40 отраслях, предлагает услуги в области стратегии и бизнес-консалтинга, технологических решений и других операций,</a:t>
            </a:r>
            <a:br>
              <a:rPr lang="ru-RU" sz="1000" dirty="0">
                <a:solidFill>
                  <a:schemeClr val="bg1"/>
                </a:solidFill>
                <a:effectLst/>
                <a:latin typeface="+mn-lt"/>
                <a:ea typeface="Calibri" panose="020F0502020204030204" pitchFamily="34" charset="0"/>
              </a:rPr>
            </a:br>
            <a:r>
              <a:rPr lang="ru-RU" sz="1000" dirty="0">
                <a:solidFill>
                  <a:schemeClr val="bg1"/>
                </a:solidFill>
                <a:effectLst/>
                <a:latin typeface="+mn-lt"/>
                <a:ea typeface="Calibri" panose="020F0502020204030204" pitchFamily="34" charset="0"/>
              </a:rPr>
              <a:t>направленных на цифровизацию бизнеса.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38EF766B-04C7-467C-AD66-22EA28C2B7B3}"/>
              </a:ext>
            </a:extLst>
          </p:cNvPr>
          <p:cNvGrpSpPr/>
          <p:nvPr userDrawn="1"/>
        </p:nvGrpSpPr>
        <p:grpSpPr>
          <a:xfrm>
            <a:off x="10496981" y="4771699"/>
            <a:ext cx="1244601" cy="1559757"/>
            <a:chOff x="8858249" y="4771699"/>
            <a:chExt cx="1244601" cy="1559757"/>
          </a:xfrm>
        </p:grpSpPr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E8BF2FA1-69FF-4A8C-94D4-37ECE5370451}"/>
                </a:ext>
              </a:extLst>
            </p:cNvPr>
            <p:cNvSpPr/>
            <p:nvPr userDrawn="1"/>
          </p:nvSpPr>
          <p:spPr>
            <a:xfrm>
              <a:off x="8858249" y="4771699"/>
              <a:ext cx="1244601" cy="1559757"/>
            </a:xfrm>
            <a:prstGeom prst="roundRect">
              <a:avLst>
                <a:gd name="adj" fmla="val 8104"/>
              </a:avLst>
            </a:prstGeom>
            <a:solidFill>
              <a:schemeClr val="bg1"/>
            </a:solidFill>
            <a:ln w="127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tlCol="0" anchor="ctr">
              <a:noAutofit/>
            </a:bodyPr>
            <a:lstStyle/>
            <a:p>
              <a:pPr algn="ctr"/>
              <a:endParaRPr lang="ru-RU" b="1" kern="0" dirty="0">
                <a:solidFill>
                  <a:prstClr val="white"/>
                </a:solidFill>
              </a:endParaRPr>
            </a:p>
          </p:txBody>
        </p:sp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BC3845A6-A9A8-43CF-83CC-A696FB9B8480}"/>
                </a:ext>
              </a:extLst>
            </p:cNvPr>
            <p:cNvPicPr>
              <a:picLocks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978734" y="4889934"/>
              <a:ext cx="1003631" cy="1008131"/>
            </a:xfrm>
            <a:prstGeom prst="rect">
              <a:avLst/>
            </a:prstGeom>
          </p:spPr>
        </p:pic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0E7E675B-8293-469C-8A1F-3E9A3F45A988}"/>
                </a:ext>
              </a:extLst>
            </p:cNvPr>
            <p:cNvSpPr>
              <a:spLocks/>
            </p:cNvSpPr>
            <p:nvPr userDrawn="1"/>
          </p:nvSpPr>
          <p:spPr>
            <a:xfrm>
              <a:off x="8858249" y="6037816"/>
              <a:ext cx="1244601" cy="153888"/>
            </a:xfrm>
            <a:prstGeom prst="rect">
              <a:avLst/>
            </a:prstGeom>
          </p:spPr>
          <p:txBody>
            <a:bodyPr wrap="square" lIns="0" tIns="0" rIns="0" bIns="0" anchor="b" anchorCtr="0">
              <a:spAutoFit/>
            </a:bodyPr>
            <a:lstStyle/>
            <a:p>
              <a:pPr algn="ctr">
                <a:spcAft>
                  <a:spcPts val="1200"/>
                </a:spcAft>
              </a:pPr>
              <a:r>
                <a:rPr lang="en-US" sz="1000" b="1" dirty="0">
                  <a:solidFill>
                    <a:schemeClr val="tx1"/>
                  </a:solidFill>
                  <a:effectLst/>
                  <a:latin typeface="+mn-lt"/>
                  <a:ea typeface="Calibri" panose="020F0502020204030204" pitchFamily="34" charset="0"/>
                </a:rPr>
                <a:t>axenix.pro</a:t>
              </a:r>
              <a:endParaRPr lang="ru-RU" sz="1000" b="1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F7F0F03E-C4FA-4DFF-B66F-D30F08633110}"/>
              </a:ext>
            </a:extLst>
          </p:cNvPr>
          <p:cNvGrpSpPr/>
          <p:nvPr userDrawn="1"/>
        </p:nvGrpSpPr>
        <p:grpSpPr>
          <a:xfrm>
            <a:off x="8828756" y="4771699"/>
            <a:ext cx="1244601" cy="1559757"/>
            <a:chOff x="10467974" y="4771699"/>
            <a:chExt cx="1244601" cy="1559757"/>
          </a:xfrm>
        </p:grpSpPr>
        <p:sp>
          <p:nvSpPr>
            <p:cNvPr id="45" name="Rectangle: Rounded Corners 44">
              <a:extLst>
                <a:ext uri="{FF2B5EF4-FFF2-40B4-BE49-F238E27FC236}">
                  <a16:creationId xmlns:a16="http://schemas.microsoft.com/office/drawing/2014/main" id="{A0B4E4B0-BCDE-42E7-B1A0-175915AF63A0}"/>
                </a:ext>
              </a:extLst>
            </p:cNvPr>
            <p:cNvSpPr/>
            <p:nvPr userDrawn="1"/>
          </p:nvSpPr>
          <p:spPr>
            <a:xfrm>
              <a:off x="10467974" y="4771699"/>
              <a:ext cx="1244601" cy="1559757"/>
            </a:xfrm>
            <a:prstGeom prst="roundRect">
              <a:avLst>
                <a:gd name="adj" fmla="val 8104"/>
              </a:avLst>
            </a:prstGeom>
            <a:solidFill>
              <a:schemeClr val="bg1"/>
            </a:solidFill>
            <a:ln w="127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tlCol="0" anchor="ctr">
              <a:noAutofit/>
            </a:bodyPr>
            <a:lstStyle/>
            <a:p>
              <a:pPr algn="ctr"/>
              <a:endParaRPr lang="ru-RU" b="1" kern="0" dirty="0">
                <a:solidFill>
                  <a:prstClr val="white"/>
                </a:solidFill>
              </a:endParaRPr>
            </a:p>
          </p:txBody>
        </p:sp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867DD0D3-EEB2-4950-9E6F-989C624ACE1A}"/>
                </a:ext>
              </a:extLst>
            </p:cNvPr>
            <p:cNvPicPr>
              <a:picLocks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588459" y="4889934"/>
              <a:ext cx="1003631" cy="1008131"/>
            </a:xfrm>
            <a:prstGeom prst="rect">
              <a:avLst/>
            </a:prstGeom>
          </p:spPr>
        </p:pic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0D77AF54-DAB1-432F-95D5-1B3AE0FE3F05}"/>
                </a:ext>
              </a:extLst>
            </p:cNvPr>
            <p:cNvSpPr>
              <a:spLocks/>
            </p:cNvSpPr>
            <p:nvPr userDrawn="1"/>
          </p:nvSpPr>
          <p:spPr>
            <a:xfrm>
              <a:off x="10467974" y="6037816"/>
              <a:ext cx="1244601" cy="153888"/>
            </a:xfrm>
            <a:prstGeom prst="rect">
              <a:avLst/>
            </a:prstGeom>
          </p:spPr>
          <p:txBody>
            <a:bodyPr wrap="square" lIns="0" tIns="0" rIns="0" bIns="0" anchor="b" anchorCtr="0">
              <a:spAutoFit/>
            </a:bodyPr>
            <a:lstStyle/>
            <a:p>
              <a:pPr algn="ctr">
                <a:spcAft>
                  <a:spcPts val="1200"/>
                </a:spcAft>
              </a:pPr>
              <a:r>
                <a:rPr lang="en-US" sz="1000" b="1" dirty="0">
                  <a:solidFill>
                    <a:schemeClr val="tx1"/>
                  </a:solidFill>
                  <a:effectLst/>
                  <a:latin typeface="+mn-lt"/>
                  <a:ea typeface="Calibri" panose="020F0502020204030204" pitchFamily="34" charset="0"/>
                </a:rPr>
                <a:t>@axenix_ru</a:t>
              </a:r>
              <a:endParaRPr lang="ru-RU" sz="1000" b="1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</a:endParaRPr>
            </a:p>
          </p:txBody>
        </p:sp>
      </p:grpSp>
      <p:sp>
        <p:nvSpPr>
          <p:cNvPr id="48" name="TextBox 47">
            <a:extLst>
              <a:ext uri="{FF2B5EF4-FFF2-40B4-BE49-F238E27FC236}">
                <a16:creationId xmlns:a16="http://schemas.microsoft.com/office/drawing/2014/main" id="{F686B957-00E4-455C-8AF7-AFCEFF3F8D1F}"/>
              </a:ext>
            </a:extLst>
          </p:cNvPr>
          <p:cNvSpPr txBox="1">
            <a:spLocks/>
          </p:cNvSpPr>
          <p:nvPr userDrawn="1"/>
        </p:nvSpPr>
        <p:spPr>
          <a:xfrm>
            <a:off x="450849" y="2239493"/>
            <a:ext cx="5465505" cy="1477328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defPPr>
              <a:defRPr lang="ru-RU"/>
            </a:defPPr>
            <a:lvl1pPr>
              <a:spcAft>
                <a:spcPts val="1200"/>
              </a:spcAft>
              <a:defRPr sz="1000">
                <a:solidFill>
                  <a:schemeClr val="bg1"/>
                </a:solidFill>
                <a:effectLst/>
                <a:ea typeface="Calibri" panose="020F0502020204030204" pitchFamily="34" charset="0"/>
              </a:defRPr>
            </a:lvl1pPr>
          </a:lstStyle>
          <a:p>
            <a:pPr lvl="0"/>
            <a:r>
              <a:rPr lang="ru-RU" sz="7200" b="1" dirty="0">
                <a:latin typeface="+mj-lt"/>
              </a:rPr>
              <a:t>Спасибо!</a:t>
            </a:r>
          </a:p>
        </p:txBody>
      </p:sp>
    </p:spTree>
    <p:extLst>
      <p:ext uri="{BB962C8B-B14F-4D97-AF65-F5344CB8AC3E}">
        <p14:creationId xmlns:p14="http://schemas.microsoft.com/office/powerpoint/2010/main" val="351620474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>
          <a:xfrm>
            <a:off x="11072619" y="6505864"/>
            <a:ext cx="770951" cy="192287"/>
          </a:xfrm>
        </p:spPr>
        <p:txBody>
          <a:bodyPr/>
          <a:lstStyle/>
          <a:p>
            <a:fld id="{4F9AC08D-23A9-440E-BCB9-AA1E9877CC38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1133558" y="0"/>
            <a:ext cx="10300252" cy="868681"/>
          </a:xfrm>
        </p:spPr>
        <p:txBody>
          <a:bodyPr anchor="ctr">
            <a:normAutofit/>
          </a:bodyPr>
          <a:lstStyle>
            <a:lvl1pPr>
              <a:lnSpc>
                <a:spcPts val="3200"/>
              </a:lnSpc>
              <a:defRPr sz="2500" cap="none"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13D3390-AAB5-C13A-88CD-457CFBC29770}"/>
              </a:ext>
            </a:extLst>
          </p:cNvPr>
          <p:cNvSpPr txBox="1"/>
          <p:nvPr userDrawn="1"/>
        </p:nvSpPr>
        <p:spPr>
          <a:xfrm>
            <a:off x="1089212" y="6589059"/>
            <a:ext cx="0" cy="0"/>
          </a:xfrm>
          <a:prstGeom prst="rect">
            <a:avLst/>
          </a:prstGeom>
          <a:noFill/>
        </p:spPr>
        <p:txBody>
          <a:bodyPr wrap="none" lIns="0" tIns="0" rIns="0" bIns="45720" rtlCol="0">
            <a:noAutofit/>
          </a:bodyPr>
          <a:lstStyle/>
          <a:p>
            <a:endParaRPr lang="x-none" sz="1600" dirty="0"/>
          </a:p>
        </p:txBody>
      </p:sp>
    </p:spTree>
    <p:extLst>
      <p:ext uri="{BB962C8B-B14F-4D97-AF65-F5344CB8AC3E}">
        <p14:creationId xmlns:p14="http://schemas.microsoft.com/office/powerpoint/2010/main" val="3689304860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2ACC94F0-4CD1-4470-8A69-695D206E40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851" y="271463"/>
            <a:ext cx="11290300" cy="461665"/>
          </a:xfrm>
          <a:prstGeom prst="rect">
            <a:avLst/>
          </a:prstGeom>
        </p:spPr>
        <p:txBody>
          <a:bodyPr wrap="square" lIns="0" tIns="0" rIns="39600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3000"/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24" name="Slide Number">
            <a:extLst>
              <a:ext uri="{FF2B5EF4-FFF2-40B4-BE49-F238E27FC236}">
                <a16:creationId xmlns:a16="http://schemas.microsoft.com/office/drawing/2014/main" id="{1245E675-A92D-4A84-BDF0-3656A4244B93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black">
          <a:xfrm>
            <a:off x="10646376" y="6588000"/>
            <a:ext cx="1095624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12492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Orange">
    <p:bg>
      <p:bgPr>
        <a:gradFill>
          <a:gsLst>
            <a:gs pos="52000">
              <a:schemeClr val="bg1">
                <a:alpha val="30000"/>
              </a:schemeClr>
            </a:gs>
            <a:gs pos="0">
              <a:schemeClr val="bg1">
                <a:alpha val="0"/>
              </a:schemeClr>
            </a:gs>
            <a:gs pos="100000">
              <a:schemeClr val="bg1">
                <a:alpha val="0"/>
              </a:schemeClr>
            </a:gs>
          </a:gsLst>
          <a:path path="shap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355FA9B-14CB-409A-8BC2-DDE02EE9A19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ru-RU"/>
          </a:p>
        </p:txBody>
      </p:sp>
      <p:sp>
        <p:nvSpPr>
          <p:cNvPr id="57" name="Title 1">
            <a:extLst>
              <a:ext uri="{FF2B5EF4-FFF2-40B4-BE49-F238E27FC236}">
                <a16:creationId xmlns:a16="http://schemas.microsoft.com/office/drawing/2014/main" id="{F910E70E-7EF3-42D3-8EA5-2187DFED77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852" y="1450975"/>
            <a:ext cx="6436447" cy="692497"/>
          </a:xfrm>
          <a:prstGeom prst="rect">
            <a:avLst/>
          </a:prstGeom>
          <a:effectLst/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4500">
                <a:solidFill>
                  <a:schemeClr val="bg1"/>
                </a:solidFill>
                <a:effectLst/>
              </a:defRPr>
            </a:lvl1pPr>
          </a:lstStyle>
          <a:p>
            <a:r>
              <a:rPr lang="ru-RU" dirty="0"/>
              <a:t>Название секции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1FC5BA4-B8E7-4B85-A4F0-4BA19DEAB3DA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black">
          <a:xfrm>
            <a:off x="10646376" y="6588000"/>
            <a:ext cx="1095624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59EC8520-FBFA-44EF-AED2-484097D86FE2}"/>
              </a:ext>
            </a:extLst>
          </p:cNvPr>
          <p:cNvGrpSpPr/>
          <p:nvPr userDrawn="1"/>
        </p:nvGrpSpPr>
        <p:grpSpPr>
          <a:xfrm>
            <a:off x="7216140" y="271463"/>
            <a:ext cx="4526598" cy="6046686"/>
            <a:chOff x="7465072" y="258763"/>
            <a:chExt cx="4268788" cy="5702300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5B6A28DF-A79B-4454-B870-5FA48FE056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87535" y="3862388"/>
              <a:ext cx="2346325" cy="2098675"/>
            </a:xfrm>
            <a:custGeom>
              <a:avLst/>
              <a:gdLst>
                <a:gd name="T0" fmla="*/ 1478 w 1478"/>
                <a:gd name="T1" fmla="*/ 383 h 1322"/>
                <a:gd name="T2" fmla="*/ 1478 w 1478"/>
                <a:gd name="T3" fmla="*/ 0 h 1322"/>
                <a:gd name="T4" fmla="*/ 0 w 1478"/>
                <a:gd name="T5" fmla="*/ 1322 h 1322"/>
                <a:gd name="T6" fmla="*/ 427 w 1478"/>
                <a:gd name="T7" fmla="*/ 1322 h 1322"/>
                <a:gd name="T8" fmla="*/ 1478 w 1478"/>
                <a:gd name="T9" fmla="*/ 383 h 1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8" h="1322">
                  <a:moveTo>
                    <a:pt x="1478" y="383"/>
                  </a:moveTo>
                  <a:lnTo>
                    <a:pt x="1478" y="0"/>
                  </a:lnTo>
                  <a:lnTo>
                    <a:pt x="0" y="1322"/>
                  </a:lnTo>
                  <a:lnTo>
                    <a:pt x="427" y="1322"/>
                  </a:lnTo>
                  <a:lnTo>
                    <a:pt x="1478" y="383"/>
                  </a:lnTo>
                  <a:close/>
                </a:path>
              </a:pathLst>
            </a:custGeom>
            <a:noFill/>
            <a:ln w="9525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ru-RU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4A7A3F6E-4A12-4FD6-94F9-7FE974CC58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65072" y="258763"/>
              <a:ext cx="4268788" cy="5692775"/>
            </a:xfrm>
            <a:custGeom>
              <a:avLst/>
              <a:gdLst>
                <a:gd name="T0" fmla="*/ 225 w 1535"/>
                <a:gd name="T1" fmla="*/ 1812 h 2048"/>
                <a:gd name="T2" fmla="*/ 194 w 1535"/>
                <a:gd name="T3" fmla="*/ 1743 h 2048"/>
                <a:gd name="T4" fmla="*/ 184 w 1535"/>
                <a:gd name="T5" fmla="*/ 1516 h 2048"/>
                <a:gd name="T6" fmla="*/ 305 w 1535"/>
                <a:gd name="T7" fmla="*/ 1318 h 2048"/>
                <a:gd name="T8" fmla="*/ 1535 w 1535"/>
                <a:gd name="T9" fmla="*/ 219 h 2048"/>
                <a:gd name="T10" fmla="*/ 1535 w 1535"/>
                <a:gd name="T11" fmla="*/ 0 h 2048"/>
                <a:gd name="T12" fmla="*/ 197 w 1535"/>
                <a:gd name="T13" fmla="*/ 1197 h 2048"/>
                <a:gd name="T14" fmla="*/ 63 w 1535"/>
                <a:gd name="T15" fmla="*/ 1375 h 2048"/>
                <a:gd name="T16" fmla="*/ 15 w 1535"/>
                <a:gd name="T17" fmla="*/ 1690 h 2048"/>
                <a:gd name="T18" fmla="*/ 152 w 1535"/>
                <a:gd name="T19" fmla="*/ 1987 h 2048"/>
                <a:gd name="T20" fmla="*/ 207 w 1535"/>
                <a:gd name="T21" fmla="*/ 2048 h 2048"/>
                <a:gd name="T22" fmla="*/ 1535 w 1535"/>
                <a:gd name="T23" fmla="*/ 861 h 2048"/>
                <a:gd name="T24" fmla="*/ 1535 w 1535"/>
                <a:gd name="T25" fmla="*/ 642 h 2048"/>
                <a:gd name="T26" fmla="*/ 225 w 1535"/>
                <a:gd name="T27" fmla="*/ 1812 h 20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35" h="2048">
                  <a:moveTo>
                    <a:pt x="225" y="1812"/>
                  </a:moveTo>
                  <a:cubicBezTo>
                    <a:pt x="213" y="1790"/>
                    <a:pt x="202" y="1767"/>
                    <a:pt x="194" y="1743"/>
                  </a:cubicBezTo>
                  <a:cubicBezTo>
                    <a:pt x="169" y="1670"/>
                    <a:pt x="166" y="1591"/>
                    <a:pt x="184" y="1516"/>
                  </a:cubicBezTo>
                  <a:cubicBezTo>
                    <a:pt x="203" y="1442"/>
                    <a:pt x="243" y="1373"/>
                    <a:pt x="305" y="1318"/>
                  </a:cubicBezTo>
                  <a:cubicBezTo>
                    <a:pt x="1535" y="219"/>
                    <a:pt x="1535" y="219"/>
                    <a:pt x="1535" y="219"/>
                  </a:cubicBezTo>
                  <a:cubicBezTo>
                    <a:pt x="1535" y="0"/>
                    <a:pt x="1535" y="0"/>
                    <a:pt x="1535" y="0"/>
                  </a:cubicBezTo>
                  <a:cubicBezTo>
                    <a:pt x="197" y="1197"/>
                    <a:pt x="197" y="1197"/>
                    <a:pt x="197" y="1197"/>
                  </a:cubicBezTo>
                  <a:cubicBezTo>
                    <a:pt x="139" y="1248"/>
                    <a:pt x="94" y="1309"/>
                    <a:pt x="63" y="1375"/>
                  </a:cubicBezTo>
                  <a:cubicBezTo>
                    <a:pt x="16" y="1474"/>
                    <a:pt x="0" y="1584"/>
                    <a:pt x="15" y="1690"/>
                  </a:cubicBezTo>
                  <a:cubicBezTo>
                    <a:pt x="29" y="1797"/>
                    <a:pt x="75" y="1901"/>
                    <a:pt x="152" y="1987"/>
                  </a:cubicBezTo>
                  <a:cubicBezTo>
                    <a:pt x="207" y="2048"/>
                    <a:pt x="207" y="2048"/>
                    <a:pt x="207" y="2048"/>
                  </a:cubicBezTo>
                  <a:cubicBezTo>
                    <a:pt x="1535" y="861"/>
                    <a:pt x="1535" y="861"/>
                    <a:pt x="1535" y="861"/>
                  </a:cubicBezTo>
                  <a:cubicBezTo>
                    <a:pt x="1535" y="642"/>
                    <a:pt x="1535" y="642"/>
                    <a:pt x="1535" y="642"/>
                  </a:cubicBezTo>
                  <a:lnTo>
                    <a:pt x="225" y="1812"/>
                  </a:lnTo>
                  <a:close/>
                </a:path>
              </a:pathLst>
            </a:custGeom>
            <a:noFill/>
            <a:ln w="9525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14597937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Image">
    <p:bg>
      <p:bgPr>
        <a:gradFill>
          <a:gsLst>
            <a:gs pos="52000">
              <a:schemeClr val="bg1">
                <a:alpha val="30000"/>
              </a:schemeClr>
            </a:gs>
            <a:gs pos="0">
              <a:schemeClr val="bg1">
                <a:alpha val="0"/>
              </a:schemeClr>
            </a:gs>
            <a:gs pos="100000">
              <a:schemeClr val="bg1">
                <a:alpha val="0"/>
              </a:schemeClr>
            </a:gs>
          </a:gsLst>
          <a:path path="shap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D8CBA2FC-EB58-47A9-AEFC-8603D4535EE1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600" y="0"/>
            <a:ext cx="12192000" cy="6858000"/>
          </a:xfrm>
          <a:prstGeom prst="rect">
            <a:avLst/>
          </a:prstGeom>
        </p:spPr>
      </p:pic>
      <p:sp>
        <p:nvSpPr>
          <p:cNvPr id="15" name="Freeform 5">
            <a:extLst>
              <a:ext uri="{FF2B5EF4-FFF2-40B4-BE49-F238E27FC236}">
                <a16:creationId xmlns:a16="http://schemas.microsoft.com/office/drawing/2014/main" id="{12827D9F-542C-4647-A24A-1754651D9DE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50851" y="876568"/>
            <a:ext cx="262382" cy="274921"/>
          </a:xfrm>
          <a:custGeom>
            <a:avLst/>
            <a:gdLst>
              <a:gd name="T0" fmla="*/ 1914 w 2342"/>
              <a:gd name="T1" fmla="*/ 297 h 2452"/>
              <a:gd name="T2" fmla="*/ 1714 w 2342"/>
              <a:gd name="T3" fmla="*/ 134 h 2452"/>
              <a:gd name="T4" fmla="*/ 1172 w 2342"/>
              <a:gd name="T5" fmla="*/ 0 h 2452"/>
              <a:gd name="T6" fmla="*/ 342 w 2342"/>
              <a:gd name="T7" fmla="*/ 349 h 2452"/>
              <a:gd name="T8" fmla="*/ 0 w 2342"/>
              <a:gd name="T9" fmla="*/ 1225 h 2452"/>
              <a:gd name="T10" fmla="*/ 343 w 2342"/>
              <a:gd name="T11" fmla="*/ 2103 h 2452"/>
              <a:gd name="T12" fmla="*/ 1173 w 2342"/>
              <a:gd name="T13" fmla="*/ 2452 h 2452"/>
              <a:gd name="T14" fmla="*/ 1715 w 2342"/>
              <a:gd name="T15" fmla="*/ 2318 h 2452"/>
              <a:gd name="T16" fmla="*/ 1915 w 2342"/>
              <a:gd name="T17" fmla="*/ 2154 h 2452"/>
              <a:gd name="T18" fmla="*/ 1915 w 2342"/>
              <a:gd name="T19" fmla="*/ 2386 h 2452"/>
              <a:gd name="T20" fmla="*/ 2342 w 2342"/>
              <a:gd name="T21" fmla="*/ 2386 h 2452"/>
              <a:gd name="T22" fmla="*/ 2342 w 2342"/>
              <a:gd name="T23" fmla="*/ 66 h 2452"/>
              <a:gd name="T24" fmla="*/ 1915 w 2342"/>
              <a:gd name="T25" fmla="*/ 66 h 2452"/>
              <a:gd name="T26" fmla="*/ 1914 w 2342"/>
              <a:gd name="T27" fmla="*/ 297 h 2452"/>
              <a:gd name="T28" fmla="*/ 1177 w 2342"/>
              <a:gd name="T29" fmla="*/ 2047 h 2452"/>
              <a:gd name="T30" fmla="*/ 644 w 2342"/>
              <a:gd name="T31" fmla="*/ 1813 h 2452"/>
              <a:gd name="T32" fmla="*/ 431 w 2342"/>
              <a:gd name="T33" fmla="*/ 1225 h 2452"/>
              <a:gd name="T34" fmla="*/ 644 w 2342"/>
              <a:gd name="T35" fmla="*/ 638 h 2452"/>
              <a:gd name="T36" fmla="*/ 1177 w 2342"/>
              <a:gd name="T37" fmla="*/ 404 h 2452"/>
              <a:gd name="T38" fmla="*/ 1731 w 2342"/>
              <a:gd name="T39" fmla="*/ 639 h 2452"/>
              <a:gd name="T40" fmla="*/ 1954 w 2342"/>
              <a:gd name="T41" fmla="*/ 1225 h 2452"/>
              <a:gd name="T42" fmla="*/ 1731 w 2342"/>
              <a:gd name="T43" fmla="*/ 1812 h 2452"/>
              <a:gd name="T44" fmla="*/ 1177 w 2342"/>
              <a:gd name="T45" fmla="*/ 2047 h 2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342" h="2452">
                <a:moveTo>
                  <a:pt x="1914" y="297"/>
                </a:moveTo>
                <a:cubicBezTo>
                  <a:pt x="1861" y="238"/>
                  <a:pt x="1795" y="181"/>
                  <a:pt x="1714" y="134"/>
                </a:cubicBezTo>
                <a:cubicBezTo>
                  <a:pt x="1577" y="54"/>
                  <a:pt x="1398" y="0"/>
                  <a:pt x="1172" y="0"/>
                </a:cubicBezTo>
                <a:cubicBezTo>
                  <a:pt x="848" y="0"/>
                  <a:pt x="554" y="130"/>
                  <a:pt x="342" y="349"/>
                </a:cubicBezTo>
                <a:cubicBezTo>
                  <a:pt x="130" y="567"/>
                  <a:pt x="0" y="874"/>
                  <a:pt x="0" y="1225"/>
                </a:cubicBezTo>
                <a:cubicBezTo>
                  <a:pt x="0" y="1577"/>
                  <a:pt x="130" y="1884"/>
                  <a:pt x="343" y="2103"/>
                </a:cubicBezTo>
                <a:cubicBezTo>
                  <a:pt x="555" y="2321"/>
                  <a:pt x="849" y="2452"/>
                  <a:pt x="1173" y="2452"/>
                </a:cubicBezTo>
                <a:cubicBezTo>
                  <a:pt x="1399" y="2452"/>
                  <a:pt x="1578" y="2398"/>
                  <a:pt x="1715" y="2318"/>
                </a:cubicBezTo>
                <a:cubicBezTo>
                  <a:pt x="1796" y="2270"/>
                  <a:pt x="1862" y="2214"/>
                  <a:pt x="1915" y="2154"/>
                </a:cubicBezTo>
                <a:cubicBezTo>
                  <a:pt x="1915" y="2386"/>
                  <a:pt x="1915" y="2386"/>
                  <a:pt x="1915" y="2386"/>
                </a:cubicBezTo>
                <a:cubicBezTo>
                  <a:pt x="2342" y="2386"/>
                  <a:pt x="2342" y="2386"/>
                  <a:pt x="2342" y="2386"/>
                </a:cubicBezTo>
                <a:cubicBezTo>
                  <a:pt x="2342" y="66"/>
                  <a:pt x="2342" y="66"/>
                  <a:pt x="2342" y="66"/>
                </a:cubicBezTo>
                <a:cubicBezTo>
                  <a:pt x="1915" y="66"/>
                  <a:pt x="1915" y="66"/>
                  <a:pt x="1915" y="66"/>
                </a:cubicBezTo>
                <a:cubicBezTo>
                  <a:pt x="1914" y="297"/>
                  <a:pt x="1914" y="297"/>
                  <a:pt x="1914" y="297"/>
                </a:cubicBezTo>
                <a:close/>
                <a:moveTo>
                  <a:pt x="1177" y="2047"/>
                </a:moveTo>
                <a:cubicBezTo>
                  <a:pt x="961" y="2047"/>
                  <a:pt x="776" y="1959"/>
                  <a:pt x="644" y="1813"/>
                </a:cubicBezTo>
                <a:cubicBezTo>
                  <a:pt x="511" y="1667"/>
                  <a:pt x="431" y="1462"/>
                  <a:pt x="431" y="1225"/>
                </a:cubicBezTo>
                <a:cubicBezTo>
                  <a:pt x="431" y="989"/>
                  <a:pt x="512" y="784"/>
                  <a:pt x="644" y="638"/>
                </a:cubicBezTo>
                <a:cubicBezTo>
                  <a:pt x="776" y="492"/>
                  <a:pt x="961" y="404"/>
                  <a:pt x="1177" y="404"/>
                </a:cubicBezTo>
                <a:cubicBezTo>
                  <a:pt x="1400" y="404"/>
                  <a:pt x="1593" y="492"/>
                  <a:pt x="1731" y="639"/>
                </a:cubicBezTo>
                <a:cubicBezTo>
                  <a:pt x="1870" y="784"/>
                  <a:pt x="1954" y="990"/>
                  <a:pt x="1954" y="1225"/>
                </a:cubicBezTo>
                <a:cubicBezTo>
                  <a:pt x="1954" y="1461"/>
                  <a:pt x="1870" y="1666"/>
                  <a:pt x="1731" y="1812"/>
                </a:cubicBezTo>
                <a:cubicBezTo>
                  <a:pt x="1593" y="1959"/>
                  <a:pt x="1400" y="2047"/>
                  <a:pt x="1177" y="2047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</a:pPr>
            <a:endParaRPr lang="ru-RU"/>
          </a:p>
        </p:txBody>
      </p:sp>
      <p:sp>
        <p:nvSpPr>
          <p:cNvPr id="16" name="Freeform 6">
            <a:extLst>
              <a:ext uri="{FF2B5EF4-FFF2-40B4-BE49-F238E27FC236}">
                <a16:creationId xmlns:a16="http://schemas.microsoft.com/office/drawing/2014/main" id="{BCC6A28F-F7D2-42C1-A8FD-A5A5F85B780E}"/>
              </a:ext>
            </a:extLst>
          </p:cNvPr>
          <p:cNvSpPr>
            <a:spLocks/>
          </p:cNvSpPr>
          <p:nvPr userDrawn="1"/>
        </p:nvSpPr>
        <p:spPr bwMode="auto">
          <a:xfrm>
            <a:off x="766174" y="883998"/>
            <a:ext cx="251237" cy="260060"/>
          </a:xfrm>
          <a:custGeom>
            <a:avLst/>
            <a:gdLst>
              <a:gd name="T0" fmla="*/ 523 w 541"/>
              <a:gd name="T1" fmla="*/ 0 h 560"/>
              <a:gd name="T2" fmla="*/ 500 w 541"/>
              <a:gd name="T3" fmla="*/ 0 h 560"/>
              <a:gd name="T4" fmla="*/ 405 w 541"/>
              <a:gd name="T5" fmla="*/ 0 h 560"/>
              <a:gd name="T6" fmla="*/ 270 w 541"/>
              <a:gd name="T7" fmla="*/ 182 h 560"/>
              <a:gd name="T8" fmla="*/ 134 w 541"/>
              <a:gd name="T9" fmla="*/ 0 h 560"/>
              <a:gd name="T10" fmla="*/ 17 w 541"/>
              <a:gd name="T11" fmla="*/ 0 h 560"/>
              <a:gd name="T12" fmla="*/ 213 w 541"/>
              <a:gd name="T13" fmla="*/ 263 h 560"/>
              <a:gd name="T14" fmla="*/ 0 w 541"/>
              <a:gd name="T15" fmla="*/ 560 h 560"/>
              <a:gd name="T16" fmla="*/ 116 w 541"/>
              <a:gd name="T17" fmla="*/ 560 h 560"/>
              <a:gd name="T18" fmla="*/ 271 w 541"/>
              <a:gd name="T19" fmla="*/ 345 h 560"/>
              <a:gd name="T20" fmla="*/ 423 w 541"/>
              <a:gd name="T21" fmla="*/ 560 h 560"/>
              <a:gd name="T22" fmla="*/ 541 w 541"/>
              <a:gd name="T23" fmla="*/ 560 h 560"/>
              <a:gd name="T24" fmla="*/ 328 w 541"/>
              <a:gd name="T25" fmla="*/ 262 h 560"/>
              <a:gd name="T26" fmla="*/ 523 w 541"/>
              <a:gd name="T27" fmla="*/ 0 h 5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41" h="560">
                <a:moveTo>
                  <a:pt x="523" y="0"/>
                </a:moveTo>
                <a:lnTo>
                  <a:pt x="500" y="0"/>
                </a:lnTo>
                <a:lnTo>
                  <a:pt x="405" y="0"/>
                </a:lnTo>
                <a:lnTo>
                  <a:pt x="270" y="182"/>
                </a:lnTo>
                <a:lnTo>
                  <a:pt x="134" y="0"/>
                </a:lnTo>
                <a:lnTo>
                  <a:pt x="17" y="0"/>
                </a:lnTo>
                <a:lnTo>
                  <a:pt x="213" y="263"/>
                </a:lnTo>
                <a:lnTo>
                  <a:pt x="0" y="560"/>
                </a:lnTo>
                <a:lnTo>
                  <a:pt x="116" y="560"/>
                </a:lnTo>
                <a:lnTo>
                  <a:pt x="271" y="345"/>
                </a:lnTo>
                <a:lnTo>
                  <a:pt x="423" y="560"/>
                </a:lnTo>
                <a:lnTo>
                  <a:pt x="541" y="560"/>
                </a:lnTo>
                <a:lnTo>
                  <a:pt x="328" y="262"/>
                </a:lnTo>
                <a:lnTo>
                  <a:pt x="52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</a:pPr>
            <a:endParaRPr lang="ru-RU"/>
          </a:p>
        </p:txBody>
      </p:sp>
      <p:sp>
        <p:nvSpPr>
          <p:cNvPr id="17" name="Freeform 7">
            <a:extLst>
              <a:ext uri="{FF2B5EF4-FFF2-40B4-BE49-F238E27FC236}">
                <a16:creationId xmlns:a16="http://schemas.microsoft.com/office/drawing/2014/main" id="{434E160A-A48A-40C2-B0ED-331B29DB8D7B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44345" y="876568"/>
            <a:ext cx="250772" cy="273992"/>
          </a:xfrm>
          <a:custGeom>
            <a:avLst/>
            <a:gdLst>
              <a:gd name="T0" fmla="*/ 1605 w 2235"/>
              <a:gd name="T1" fmla="*/ 92 h 2444"/>
              <a:gd name="T2" fmla="*/ 1165 w 2235"/>
              <a:gd name="T3" fmla="*/ 0 h 2444"/>
              <a:gd name="T4" fmla="*/ 333 w 2235"/>
              <a:gd name="T5" fmla="*/ 339 h 2444"/>
              <a:gd name="T6" fmla="*/ 1 w 2235"/>
              <a:gd name="T7" fmla="*/ 1236 h 2444"/>
              <a:gd name="T8" fmla="*/ 1 w 2235"/>
              <a:gd name="T9" fmla="*/ 1253 h 2444"/>
              <a:gd name="T10" fmla="*/ 328 w 2235"/>
              <a:gd name="T11" fmla="*/ 2119 h 2444"/>
              <a:gd name="T12" fmla="*/ 1174 w 2235"/>
              <a:gd name="T13" fmla="*/ 2444 h 2444"/>
              <a:gd name="T14" fmla="*/ 1658 w 2235"/>
              <a:gd name="T15" fmla="*/ 2360 h 2444"/>
              <a:gd name="T16" fmla="*/ 2109 w 2235"/>
              <a:gd name="T17" fmla="*/ 2036 h 2444"/>
              <a:gd name="T18" fmla="*/ 2140 w 2235"/>
              <a:gd name="T19" fmla="*/ 2001 h 2444"/>
              <a:gd name="T20" fmla="*/ 1851 w 2235"/>
              <a:gd name="T21" fmla="*/ 1719 h 2444"/>
              <a:gd name="T22" fmla="*/ 1817 w 2235"/>
              <a:gd name="T23" fmla="*/ 1754 h 2444"/>
              <a:gd name="T24" fmla="*/ 1540 w 2235"/>
              <a:gd name="T25" fmla="*/ 1972 h 2444"/>
              <a:gd name="T26" fmla="*/ 1172 w 2235"/>
              <a:gd name="T27" fmla="*/ 2048 h 2444"/>
              <a:gd name="T28" fmla="*/ 871 w 2235"/>
              <a:gd name="T29" fmla="*/ 1995 h 2444"/>
              <a:gd name="T30" fmla="*/ 558 w 2235"/>
              <a:gd name="T31" fmla="*/ 1738 h 2444"/>
              <a:gd name="T32" fmla="*/ 434 w 2235"/>
              <a:gd name="T33" fmla="*/ 1345 h 2444"/>
              <a:gd name="T34" fmla="*/ 2228 w 2235"/>
              <a:gd name="T35" fmla="*/ 1345 h 2444"/>
              <a:gd name="T36" fmla="*/ 2230 w 2235"/>
              <a:gd name="T37" fmla="*/ 1300 h 2444"/>
              <a:gd name="T38" fmla="*/ 2235 w 2235"/>
              <a:gd name="T39" fmla="*/ 1156 h 2444"/>
              <a:gd name="T40" fmla="*/ 1943 w 2235"/>
              <a:gd name="T41" fmla="*/ 341 h 2444"/>
              <a:gd name="T42" fmla="*/ 1605 w 2235"/>
              <a:gd name="T43" fmla="*/ 92 h 2444"/>
              <a:gd name="T44" fmla="*/ 673 w 2235"/>
              <a:gd name="T45" fmla="*/ 585 h 2444"/>
              <a:gd name="T46" fmla="*/ 1165 w 2235"/>
              <a:gd name="T47" fmla="*/ 406 h 2444"/>
              <a:gd name="T48" fmla="*/ 1606 w 2235"/>
              <a:gd name="T49" fmla="*/ 585 h 2444"/>
              <a:gd name="T50" fmla="*/ 1786 w 2235"/>
              <a:gd name="T51" fmla="*/ 964 h 2444"/>
              <a:gd name="T52" fmla="*/ 459 w 2235"/>
              <a:gd name="T53" fmla="*/ 964 h 2444"/>
              <a:gd name="T54" fmla="*/ 673 w 2235"/>
              <a:gd name="T55" fmla="*/ 585 h 24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2235" h="2444">
                <a:moveTo>
                  <a:pt x="1605" y="92"/>
                </a:moveTo>
                <a:cubicBezTo>
                  <a:pt x="1474" y="33"/>
                  <a:pt x="1325" y="0"/>
                  <a:pt x="1165" y="0"/>
                </a:cubicBezTo>
                <a:cubicBezTo>
                  <a:pt x="834" y="0"/>
                  <a:pt x="540" y="122"/>
                  <a:pt x="333" y="339"/>
                </a:cubicBezTo>
                <a:cubicBezTo>
                  <a:pt x="124" y="556"/>
                  <a:pt x="0" y="865"/>
                  <a:pt x="1" y="1236"/>
                </a:cubicBezTo>
                <a:cubicBezTo>
                  <a:pt x="1" y="1253"/>
                  <a:pt x="1" y="1253"/>
                  <a:pt x="1" y="1253"/>
                </a:cubicBezTo>
                <a:cubicBezTo>
                  <a:pt x="1" y="1610"/>
                  <a:pt x="120" y="1909"/>
                  <a:pt x="328" y="2119"/>
                </a:cubicBezTo>
                <a:cubicBezTo>
                  <a:pt x="536" y="2328"/>
                  <a:pt x="831" y="2444"/>
                  <a:pt x="1174" y="2444"/>
                </a:cubicBezTo>
                <a:cubicBezTo>
                  <a:pt x="1339" y="2444"/>
                  <a:pt x="1502" y="2423"/>
                  <a:pt x="1658" y="2360"/>
                </a:cubicBezTo>
                <a:cubicBezTo>
                  <a:pt x="1815" y="2298"/>
                  <a:pt x="1966" y="2195"/>
                  <a:pt x="2109" y="2036"/>
                </a:cubicBezTo>
                <a:cubicBezTo>
                  <a:pt x="2140" y="2001"/>
                  <a:pt x="2140" y="2001"/>
                  <a:pt x="2140" y="2001"/>
                </a:cubicBezTo>
                <a:cubicBezTo>
                  <a:pt x="1851" y="1719"/>
                  <a:pt x="1851" y="1719"/>
                  <a:pt x="1851" y="1719"/>
                </a:cubicBezTo>
                <a:cubicBezTo>
                  <a:pt x="1817" y="1754"/>
                  <a:pt x="1817" y="1754"/>
                  <a:pt x="1817" y="1754"/>
                </a:cubicBezTo>
                <a:cubicBezTo>
                  <a:pt x="1727" y="1849"/>
                  <a:pt x="1640" y="1922"/>
                  <a:pt x="1540" y="1972"/>
                </a:cubicBezTo>
                <a:cubicBezTo>
                  <a:pt x="1441" y="2021"/>
                  <a:pt x="1325" y="2048"/>
                  <a:pt x="1172" y="2048"/>
                </a:cubicBezTo>
                <a:cubicBezTo>
                  <a:pt x="1061" y="2048"/>
                  <a:pt x="960" y="2030"/>
                  <a:pt x="871" y="1995"/>
                </a:cubicBezTo>
                <a:cubicBezTo>
                  <a:pt x="739" y="1943"/>
                  <a:pt x="632" y="1856"/>
                  <a:pt x="558" y="1738"/>
                </a:cubicBezTo>
                <a:cubicBezTo>
                  <a:pt x="489" y="1631"/>
                  <a:pt x="447" y="1499"/>
                  <a:pt x="434" y="1345"/>
                </a:cubicBezTo>
                <a:cubicBezTo>
                  <a:pt x="2228" y="1345"/>
                  <a:pt x="2228" y="1345"/>
                  <a:pt x="2228" y="1345"/>
                </a:cubicBezTo>
                <a:cubicBezTo>
                  <a:pt x="2230" y="1300"/>
                  <a:pt x="2230" y="1300"/>
                  <a:pt x="2230" y="1300"/>
                </a:cubicBezTo>
                <a:cubicBezTo>
                  <a:pt x="2235" y="1232"/>
                  <a:pt x="2235" y="1156"/>
                  <a:pt x="2235" y="1156"/>
                </a:cubicBezTo>
                <a:cubicBezTo>
                  <a:pt x="2235" y="839"/>
                  <a:pt x="2130" y="551"/>
                  <a:pt x="1943" y="341"/>
                </a:cubicBezTo>
                <a:cubicBezTo>
                  <a:pt x="1850" y="236"/>
                  <a:pt x="1736" y="151"/>
                  <a:pt x="1605" y="92"/>
                </a:cubicBezTo>
                <a:close/>
                <a:moveTo>
                  <a:pt x="673" y="585"/>
                </a:moveTo>
                <a:cubicBezTo>
                  <a:pt x="800" y="475"/>
                  <a:pt x="974" y="406"/>
                  <a:pt x="1165" y="406"/>
                </a:cubicBezTo>
                <a:cubicBezTo>
                  <a:pt x="1337" y="406"/>
                  <a:pt x="1492" y="475"/>
                  <a:pt x="1606" y="585"/>
                </a:cubicBezTo>
                <a:cubicBezTo>
                  <a:pt x="1707" y="685"/>
                  <a:pt x="1774" y="817"/>
                  <a:pt x="1786" y="964"/>
                </a:cubicBezTo>
                <a:cubicBezTo>
                  <a:pt x="459" y="964"/>
                  <a:pt x="459" y="964"/>
                  <a:pt x="459" y="964"/>
                </a:cubicBezTo>
                <a:cubicBezTo>
                  <a:pt x="481" y="816"/>
                  <a:pt x="559" y="684"/>
                  <a:pt x="673" y="58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</a:pPr>
            <a:endParaRPr lang="ru-RU"/>
          </a:p>
        </p:txBody>
      </p:sp>
      <p:sp>
        <p:nvSpPr>
          <p:cNvPr id="18" name="Freeform 8">
            <a:extLst>
              <a:ext uri="{FF2B5EF4-FFF2-40B4-BE49-F238E27FC236}">
                <a16:creationId xmlns:a16="http://schemas.microsoft.com/office/drawing/2014/main" id="{481C9018-B0DC-4C5C-8678-62E1123483AC}"/>
              </a:ext>
            </a:extLst>
          </p:cNvPr>
          <p:cNvSpPr>
            <a:spLocks/>
          </p:cNvSpPr>
          <p:nvPr userDrawn="1"/>
        </p:nvSpPr>
        <p:spPr bwMode="auto">
          <a:xfrm>
            <a:off x="1357346" y="879819"/>
            <a:ext cx="220122" cy="264240"/>
          </a:xfrm>
          <a:custGeom>
            <a:avLst/>
            <a:gdLst>
              <a:gd name="T0" fmla="*/ 1608 w 1965"/>
              <a:gd name="T1" fmla="*/ 142 h 2354"/>
              <a:gd name="T2" fmla="*/ 1093 w 1965"/>
              <a:gd name="T3" fmla="*/ 0 h 2354"/>
              <a:gd name="T4" fmla="*/ 627 w 1965"/>
              <a:gd name="T5" fmla="*/ 122 h 2354"/>
              <a:gd name="T6" fmla="*/ 431 w 1965"/>
              <a:gd name="T7" fmla="*/ 293 h 2354"/>
              <a:gd name="T8" fmla="*/ 431 w 1965"/>
              <a:gd name="T9" fmla="*/ 35 h 2354"/>
              <a:gd name="T10" fmla="*/ 0 w 1965"/>
              <a:gd name="T11" fmla="*/ 35 h 2354"/>
              <a:gd name="T12" fmla="*/ 0 w 1965"/>
              <a:gd name="T13" fmla="*/ 2354 h 2354"/>
              <a:gd name="T14" fmla="*/ 431 w 1965"/>
              <a:gd name="T15" fmla="*/ 2354 h 2354"/>
              <a:gd name="T16" fmla="*/ 431 w 1965"/>
              <a:gd name="T17" fmla="*/ 979 h 2354"/>
              <a:gd name="T18" fmla="*/ 591 w 1965"/>
              <a:gd name="T19" fmla="*/ 562 h 2354"/>
              <a:gd name="T20" fmla="*/ 1009 w 1965"/>
              <a:gd name="T21" fmla="*/ 405 h 2354"/>
              <a:gd name="T22" fmla="*/ 1232 w 1965"/>
              <a:gd name="T23" fmla="*/ 443 h 2354"/>
              <a:gd name="T24" fmla="*/ 1456 w 1965"/>
              <a:gd name="T25" fmla="*/ 631 h 2354"/>
              <a:gd name="T26" fmla="*/ 1537 w 1965"/>
              <a:gd name="T27" fmla="*/ 956 h 2354"/>
              <a:gd name="T28" fmla="*/ 1537 w 1965"/>
              <a:gd name="T29" fmla="*/ 2354 h 2354"/>
              <a:gd name="T30" fmla="*/ 1965 w 1965"/>
              <a:gd name="T31" fmla="*/ 2354 h 2354"/>
              <a:gd name="T32" fmla="*/ 1965 w 1965"/>
              <a:gd name="T33" fmla="*/ 886 h 2354"/>
              <a:gd name="T34" fmla="*/ 1906 w 1965"/>
              <a:gd name="T35" fmla="*/ 528 h 2354"/>
              <a:gd name="T36" fmla="*/ 1608 w 1965"/>
              <a:gd name="T37" fmla="*/ 142 h 2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965" h="2354">
                <a:moveTo>
                  <a:pt x="1608" y="142"/>
                </a:moveTo>
                <a:cubicBezTo>
                  <a:pt x="1469" y="50"/>
                  <a:pt x="1295" y="0"/>
                  <a:pt x="1093" y="0"/>
                </a:cubicBezTo>
                <a:cubicBezTo>
                  <a:pt x="913" y="0"/>
                  <a:pt x="755" y="45"/>
                  <a:pt x="627" y="122"/>
                </a:cubicBezTo>
                <a:cubicBezTo>
                  <a:pt x="550" y="169"/>
                  <a:pt x="485" y="227"/>
                  <a:pt x="431" y="293"/>
                </a:cubicBezTo>
                <a:cubicBezTo>
                  <a:pt x="431" y="35"/>
                  <a:pt x="431" y="35"/>
                  <a:pt x="431" y="35"/>
                </a:cubicBezTo>
                <a:cubicBezTo>
                  <a:pt x="0" y="35"/>
                  <a:pt x="0" y="35"/>
                  <a:pt x="0" y="35"/>
                </a:cubicBezTo>
                <a:cubicBezTo>
                  <a:pt x="0" y="2354"/>
                  <a:pt x="0" y="2354"/>
                  <a:pt x="0" y="2354"/>
                </a:cubicBezTo>
                <a:cubicBezTo>
                  <a:pt x="431" y="2354"/>
                  <a:pt x="431" y="2354"/>
                  <a:pt x="431" y="2354"/>
                </a:cubicBezTo>
                <a:cubicBezTo>
                  <a:pt x="431" y="979"/>
                  <a:pt x="431" y="979"/>
                  <a:pt x="431" y="979"/>
                </a:cubicBezTo>
                <a:cubicBezTo>
                  <a:pt x="431" y="804"/>
                  <a:pt x="491" y="662"/>
                  <a:pt x="591" y="562"/>
                </a:cubicBezTo>
                <a:cubicBezTo>
                  <a:pt x="691" y="463"/>
                  <a:pt x="834" y="405"/>
                  <a:pt x="1009" y="405"/>
                </a:cubicBezTo>
                <a:cubicBezTo>
                  <a:pt x="1093" y="405"/>
                  <a:pt x="1168" y="419"/>
                  <a:pt x="1232" y="443"/>
                </a:cubicBezTo>
                <a:cubicBezTo>
                  <a:pt x="1329" y="481"/>
                  <a:pt x="1405" y="545"/>
                  <a:pt x="1456" y="631"/>
                </a:cubicBezTo>
                <a:cubicBezTo>
                  <a:pt x="1509" y="717"/>
                  <a:pt x="1537" y="826"/>
                  <a:pt x="1537" y="956"/>
                </a:cubicBezTo>
                <a:cubicBezTo>
                  <a:pt x="1537" y="2354"/>
                  <a:pt x="1537" y="2354"/>
                  <a:pt x="1537" y="2354"/>
                </a:cubicBezTo>
                <a:cubicBezTo>
                  <a:pt x="1965" y="2354"/>
                  <a:pt x="1965" y="2354"/>
                  <a:pt x="1965" y="2354"/>
                </a:cubicBezTo>
                <a:cubicBezTo>
                  <a:pt x="1965" y="886"/>
                  <a:pt x="1965" y="886"/>
                  <a:pt x="1965" y="886"/>
                </a:cubicBezTo>
                <a:cubicBezTo>
                  <a:pt x="1965" y="757"/>
                  <a:pt x="1944" y="636"/>
                  <a:pt x="1906" y="528"/>
                </a:cubicBezTo>
                <a:cubicBezTo>
                  <a:pt x="1848" y="367"/>
                  <a:pt x="1746" y="233"/>
                  <a:pt x="1608" y="14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</a:pPr>
            <a:endParaRPr lang="ru-RU"/>
          </a:p>
        </p:txBody>
      </p:sp>
      <p:sp>
        <p:nvSpPr>
          <p:cNvPr id="19" name="Freeform 9">
            <a:extLst>
              <a:ext uri="{FF2B5EF4-FFF2-40B4-BE49-F238E27FC236}">
                <a16:creationId xmlns:a16="http://schemas.microsoft.com/office/drawing/2014/main" id="{34A981F0-A23C-4ACF-B9E9-C23B6CEEA30F}"/>
              </a:ext>
            </a:extLst>
          </p:cNvPr>
          <p:cNvSpPr>
            <a:spLocks/>
          </p:cNvSpPr>
          <p:nvPr userDrawn="1"/>
        </p:nvSpPr>
        <p:spPr bwMode="auto">
          <a:xfrm>
            <a:off x="1649914" y="883998"/>
            <a:ext cx="48297" cy="260060"/>
          </a:xfrm>
          <a:custGeom>
            <a:avLst/>
            <a:gdLst>
              <a:gd name="T0" fmla="*/ 0 w 104"/>
              <a:gd name="T1" fmla="*/ 560 h 560"/>
              <a:gd name="T2" fmla="*/ 11 w 104"/>
              <a:gd name="T3" fmla="*/ 560 h 560"/>
              <a:gd name="T4" fmla="*/ 104 w 104"/>
              <a:gd name="T5" fmla="*/ 560 h 560"/>
              <a:gd name="T6" fmla="*/ 104 w 104"/>
              <a:gd name="T7" fmla="*/ 0 h 560"/>
              <a:gd name="T8" fmla="*/ 0 w 104"/>
              <a:gd name="T9" fmla="*/ 0 h 560"/>
              <a:gd name="T10" fmla="*/ 0 w 104"/>
              <a:gd name="T11" fmla="*/ 560 h 5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4" h="560">
                <a:moveTo>
                  <a:pt x="0" y="560"/>
                </a:moveTo>
                <a:lnTo>
                  <a:pt x="11" y="560"/>
                </a:lnTo>
                <a:lnTo>
                  <a:pt x="104" y="560"/>
                </a:lnTo>
                <a:lnTo>
                  <a:pt x="104" y="0"/>
                </a:lnTo>
                <a:lnTo>
                  <a:pt x="0" y="0"/>
                </a:lnTo>
                <a:lnTo>
                  <a:pt x="0" y="5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</a:pPr>
            <a:endParaRPr lang="ru-RU"/>
          </a:p>
        </p:txBody>
      </p:sp>
      <p:sp>
        <p:nvSpPr>
          <p:cNvPr id="20" name="Freeform 10">
            <a:extLst>
              <a:ext uri="{FF2B5EF4-FFF2-40B4-BE49-F238E27FC236}">
                <a16:creationId xmlns:a16="http://schemas.microsoft.com/office/drawing/2014/main" id="{9EAFDA3E-05AB-4431-BC92-FFD2DA7279A4}"/>
              </a:ext>
            </a:extLst>
          </p:cNvPr>
          <p:cNvSpPr>
            <a:spLocks/>
          </p:cNvSpPr>
          <p:nvPr userDrawn="1"/>
        </p:nvSpPr>
        <p:spPr bwMode="auto">
          <a:xfrm>
            <a:off x="1751616" y="883998"/>
            <a:ext cx="251237" cy="260060"/>
          </a:xfrm>
          <a:custGeom>
            <a:avLst/>
            <a:gdLst>
              <a:gd name="T0" fmla="*/ 328 w 541"/>
              <a:gd name="T1" fmla="*/ 262 h 560"/>
              <a:gd name="T2" fmla="*/ 523 w 541"/>
              <a:gd name="T3" fmla="*/ 0 h 560"/>
              <a:gd name="T4" fmla="*/ 405 w 541"/>
              <a:gd name="T5" fmla="*/ 0 h 560"/>
              <a:gd name="T6" fmla="*/ 270 w 541"/>
              <a:gd name="T7" fmla="*/ 182 h 560"/>
              <a:gd name="T8" fmla="*/ 134 w 541"/>
              <a:gd name="T9" fmla="*/ 0 h 560"/>
              <a:gd name="T10" fmla="*/ 17 w 541"/>
              <a:gd name="T11" fmla="*/ 0 h 560"/>
              <a:gd name="T12" fmla="*/ 213 w 541"/>
              <a:gd name="T13" fmla="*/ 263 h 560"/>
              <a:gd name="T14" fmla="*/ 0 w 541"/>
              <a:gd name="T15" fmla="*/ 560 h 560"/>
              <a:gd name="T16" fmla="*/ 116 w 541"/>
              <a:gd name="T17" fmla="*/ 560 h 560"/>
              <a:gd name="T18" fmla="*/ 271 w 541"/>
              <a:gd name="T19" fmla="*/ 345 h 560"/>
              <a:gd name="T20" fmla="*/ 424 w 541"/>
              <a:gd name="T21" fmla="*/ 560 h 560"/>
              <a:gd name="T22" fmla="*/ 541 w 541"/>
              <a:gd name="T23" fmla="*/ 560 h 560"/>
              <a:gd name="T24" fmla="*/ 328 w 541"/>
              <a:gd name="T25" fmla="*/ 262 h 5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41" h="560">
                <a:moveTo>
                  <a:pt x="328" y="262"/>
                </a:moveTo>
                <a:lnTo>
                  <a:pt x="523" y="0"/>
                </a:lnTo>
                <a:lnTo>
                  <a:pt x="405" y="0"/>
                </a:lnTo>
                <a:lnTo>
                  <a:pt x="270" y="182"/>
                </a:lnTo>
                <a:lnTo>
                  <a:pt x="134" y="0"/>
                </a:lnTo>
                <a:lnTo>
                  <a:pt x="17" y="0"/>
                </a:lnTo>
                <a:lnTo>
                  <a:pt x="213" y="263"/>
                </a:lnTo>
                <a:lnTo>
                  <a:pt x="0" y="560"/>
                </a:lnTo>
                <a:lnTo>
                  <a:pt x="116" y="560"/>
                </a:lnTo>
                <a:lnTo>
                  <a:pt x="271" y="345"/>
                </a:lnTo>
                <a:lnTo>
                  <a:pt x="424" y="560"/>
                </a:lnTo>
                <a:lnTo>
                  <a:pt x="541" y="560"/>
                </a:lnTo>
                <a:lnTo>
                  <a:pt x="328" y="2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</a:pPr>
            <a:endParaRPr lang="ru-RU"/>
          </a:p>
        </p:txBody>
      </p:sp>
      <p:sp>
        <p:nvSpPr>
          <p:cNvPr id="21" name="Freeform 11">
            <a:extLst>
              <a:ext uri="{FF2B5EF4-FFF2-40B4-BE49-F238E27FC236}">
                <a16:creationId xmlns:a16="http://schemas.microsoft.com/office/drawing/2014/main" id="{E8234A06-B833-401B-BC4B-0D909EA9EA7B}"/>
              </a:ext>
            </a:extLst>
          </p:cNvPr>
          <p:cNvSpPr>
            <a:spLocks/>
          </p:cNvSpPr>
          <p:nvPr userDrawn="1"/>
        </p:nvSpPr>
        <p:spPr bwMode="auto">
          <a:xfrm>
            <a:off x="604101" y="271463"/>
            <a:ext cx="406344" cy="544734"/>
          </a:xfrm>
          <a:custGeom>
            <a:avLst/>
            <a:gdLst>
              <a:gd name="T0" fmla="*/ 535 w 3625"/>
              <a:gd name="T1" fmla="*/ 4303 h 4860"/>
              <a:gd name="T2" fmla="*/ 459 w 3625"/>
              <a:gd name="T3" fmla="*/ 4139 h 4860"/>
              <a:gd name="T4" fmla="*/ 435 w 3625"/>
              <a:gd name="T5" fmla="*/ 3604 h 4860"/>
              <a:gd name="T6" fmla="*/ 718 w 3625"/>
              <a:gd name="T7" fmla="*/ 3134 h 4860"/>
              <a:gd name="T8" fmla="*/ 3624 w 3625"/>
              <a:gd name="T9" fmla="*/ 518 h 4860"/>
              <a:gd name="T10" fmla="*/ 3624 w 3625"/>
              <a:gd name="T11" fmla="*/ 0 h 4860"/>
              <a:gd name="T12" fmla="*/ 461 w 3625"/>
              <a:gd name="T13" fmla="*/ 2848 h 4860"/>
              <a:gd name="T14" fmla="*/ 148 w 3625"/>
              <a:gd name="T15" fmla="*/ 3271 h 4860"/>
              <a:gd name="T16" fmla="*/ 36 w 3625"/>
              <a:gd name="T17" fmla="*/ 4016 h 4860"/>
              <a:gd name="T18" fmla="*/ 363 w 3625"/>
              <a:gd name="T19" fmla="*/ 4717 h 4860"/>
              <a:gd name="T20" fmla="*/ 363 w 3625"/>
              <a:gd name="T21" fmla="*/ 4717 h 4860"/>
              <a:gd name="T22" fmla="*/ 493 w 3625"/>
              <a:gd name="T23" fmla="*/ 4860 h 4860"/>
              <a:gd name="T24" fmla="*/ 3625 w 3625"/>
              <a:gd name="T25" fmla="*/ 2040 h 4860"/>
              <a:gd name="T26" fmla="*/ 3625 w 3625"/>
              <a:gd name="T27" fmla="*/ 1522 h 4860"/>
              <a:gd name="T28" fmla="*/ 535 w 3625"/>
              <a:gd name="T29" fmla="*/ 4303 h 4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625" h="4860">
                <a:moveTo>
                  <a:pt x="535" y="4303"/>
                </a:moveTo>
                <a:cubicBezTo>
                  <a:pt x="505" y="4250"/>
                  <a:pt x="479" y="4195"/>
                  <a:pt x="459" y="4139"/>
                </a:cubicBezTo>
                <a:cubicBezTo>
                  <a:pt x="399" y="3966"/>
                  <a:pt x="392" y="3780"/>
                  <a:pt x="435" y="3604"/>
                </a:cubicBezTo>
                <a:cubicBezTo>
                  <a:pt x="479" y="3428"/>
                  <a:pt x="573" y="3264"/>
                  <a:pt x="718" y="3134"/>
                </a:cubicBezTo>
                <a:cubicBezTo>
                  <a:pt x="3624" y="518"/>
                  <a:pt x="3624" y="518"/>
                  <a:pt x="3624" y="518"/>
                </a:cubicBezTo>
                <a:cubicBezTo>
                  <a:pt x="3624" y="0"/>
                  <a:pt x="3624" y="0"/>
                  <a:pt x="3624" y="0"/>
                </a:cubicBezTo>
                <a:cubicBezTo>
                  <a:pt x="461" y="2848"/>
                  <a:pt x="461" y="2848"/>
                  <a:pt x="461" y="2848"/>
                </a:cubicBezTo>
                <a:cubicBezTo>
                  <a:pt x="326" y="2970"/>
                  <a:pt x="220" y="3115"/>
                  <a:pt x="148" y="3271"/>
                </a:cubicBezTo>
                <a:cubicBezTo>
                  <a:pt x="38" y="3505"/>
                  <a:pt x="0" y="3764"/>
                  <a:pt x="36" y="4016"/>
                </a:cubicBezTo>
                <a:cubicBezTo>
                  <a:pt x="71" y="4268"/>
                  <a:pt x="180" y="4514"/>
                  <a:pt x="363" y="4717"/>
                </a:cubicBezTo>
                <a:cubicBezTo>
                  <a:pt x="363" y="4717"/>
                  <a:pt x="363" y="4717"/>
                  <a:pt x="363" y="4717"/>
                </a:cubicBezTo>
                <a:cubicBezTo>
                  <a:pt x="493" y="4860"/>
                  <a:pt x="493" y="4860"/>
                  <a:pt x="493" y="4860"/>
                </a:cubicBezTo>
                <a:cubicBezTo>
                  <a:pt x="3625" y="2040"/>
                  <a:pt x="3625" y="2040"/>
                  <a:pt x="3625" y="2040"/>
                </a:cubicBezTo>
                <a:cubicBezTo>
                  <a:pt x="3625" y="1522"/>
                  <a:pt x="3625" y="1522"/>
                  <a:pt x="3625" y="1522"/>
                </a:cubicBezTo>
                <a:lnTo>
                  <a:pt x="535" y="430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</a:pPr>
            <a:endParaRPr lang="ru-RU"/>
          </a:p>
        </p:txBody>
      </p:sp>
      <p:sp>
        <p:nvSpPr>
          <p:cNvPr id="22" name="Freeform 12">
            <a:extLst>
              <a:ext uri="{FF2B5EF4-FFF2-40B4-BE49-F238E27FC236}">
                <a16:creationId xmlns:a16="http://schemas.microsoft.com/office/drawing/2014/main" id="{1AF2DADA-D462-4896-91A8-A7E2DE8491CD}"/>
              </a:ext>
            </a:extLst>
          </p:cNvPr>
          <p:cNvSpPr>
            <a:spLocks/>
          </p:cNvSpPr>
          <p:nvPr userDrawn="1"/>
        </p:nvSpPr>
        <p:spPr bwMode="auto">
          <a:xfrm>
            <a:off x="787536" y="616508"/>
            <a:ext cx="221980" cy="199689"/>
          </a:xfrm>
          <a:custGeom>
            <a:avLst/>
            <a:gdLst>
              <a:gd name="T0" fmla="*/ 0 w 478"/>
              <a:gd name="T1" fmla="*/ 430 h 430"/>
              <a:gd name="T2" fmla="*/ 140 w 478"/>
              <a:gd name="T3" fmla="*/ 430 h 430"/>
              <a:gd name="T4" fmla="*/ 478 w 478"/>
              <a:gd name="T5" fmla="*/ 125 h 430"/>
              <a:gd name="T6" fmla="*/ 478 w 478"/>
              <a:gd name="T7" fmla="*/ 0 h 430"/>
              <a:gd name="T8" fmla="*/ 0 w 478"/>
              <a:gd name="T9" fmla="*/ 430 h 4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78" h="430">
                <a:moveTo>
                  <a:pt x="0" y="430"/>
                </a:moveTo>
                <a:lnTo>
                  <a:pt x="140" y="430"/>
                </a:lnTo>
                <a:lnTo>
                  <a:pt x="478" y="125"/>
                </a:lnTo>
                <a:lnTo>
                  <a:pt x="478" y="0"/>
                </a:lnTo>
                <a:lnTo>
                  <a:pt x="0" y="43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</a:pPr>
            <a:endParaRPr lang="ru-RU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57E0E32-6D10-44B4-88E0-FA6A24AC67C0}"/>
              </a:ext>
            </a:extLst>
          </p:cNvPr>
          <p:cNvSpPr>
            <a:spLocks/>
          </p:cNvSpPr>
          <p:nvPr userDrawn="1"/>
        </p:nvSpPr>
        <p:spPr>
          <a:xfrm>
            <a:off x="450850" y="5038794"/>
            <a:ext cx="7406964" cy="129266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ru-RU" sz="1400" b="1" dirty="0">
                <a:solidFill>
                  <a:schemeClr val="bg1"/>
                </a:solidFill>
              </a:rPr>
              <a:t>О компании </a:t>
            </a:r>
            <a:r>
              <a:rPr lang="en-US" sz="1400" b="1" dirty="0">
                <a:solidFill>
                  <a:schemeClr val="bg1"/>
                </a:solidFill>
              </a:rPr>
              <a:t>AXENIX</a:t>
            </a:r>
            <a:endParaRPr lang="ru-RU" sz="1400" b="1" dirty="0">
              <a:solidFill>
                <a:schemeClr val="bg1"/>
              </a:solidFill>
            </a:endParaRPr>
          </a:p>
          <a:p>
            <a:pPr>
              <a:spcAft>
                <a:spcPts val="1200"/>
              </a:spcAft>
            </a:pPr>
            <a:r>
              <a:rPr lang="en-US" sz="1000" dirty="0">
                <a:solidFill>
                  <a:schemeClr val="bg1"/>
                </a:solidFill>
                <a:effectLst/>
                <a:latin typeface="+mn-lt"/>
                <a:ea typeface="Calibri" panose="020F0502020204030204" pitchFamily="34" charset="0"/>
              </a:rPr>
              <a:t>AXENIX </a:t>
            </a:r>
            <a:r>
              <a:rPr lang="ru-RU" sz="1000" dirty="0">
                <a:solidFill>
                  <a:schemeClr val="bg1"/>
                </a:solidFill>
                <a:effectLst/>
                <a:latin typeface="+mn-lt"/>
                <a:ea typeface="Calibri" panose="020F0502020204030204" pitchFamily="34" charset="0"/>
              </a:rPr>
              <a:t>(ex-Accenture) – российская компания, предоставляющая широкий спектр профессиональных услуг</a:t>
            </a:r>
            <a:br>
              <a:rPr lang="ru-RU" sz="1000" dirty="0">
                <a:solidFill>
                  <a:schemeClr val="bg1"/>
                </a:solidFill>
                <a:effectLst/>
                <a:latin typeface="+mn-lt"/>
                <a:ea typeface="Calibri" panose="020F0502020204030204" pitchFamily="34" charset="0"/>
              </a:rPr>
            </a:br>
            <a:r>
              <a:rPr lang="ru-RU" sz="1000" dirty="0">
                <a:solidFill>
                  <a:schemeClr val="bg1"/>
                </a:solidFill>
                <a:effectLst/>
                <a:latin typeface="+mn-lt"/>
                <a:ea typeface="Calibri" panose="020F0502020204030204" pitchFamily="34" charset="0"/>
              </a:rPr>
              <a:t>в области цифровых сервисов, облачных технологий и решений для обеспечения информационной безопасности.</a:t>
            </a:r>
            <a:br>
              <a:rPr lang="ru-RU" sz="1000" dirty="0">
                <a:solidFill>
                  <a:schemeClr val="bg1"/>
                </a:solidFill>
                <a:effectLst/>
                <a:latin typeface="+mn-lt"/>
                <a:ea typeface="Calibri" panose="020F0502020204030204" pitchFamily="34" charset="0"/>
              </a:rPr>
            </a:br>
            <a:r>
              <a:rPr lang="ru-RU" sz="1000" dirty="0">
                <a:solidFill>
                  <a:schemeClr val="bg1"/>
                </a:solidFill>
                <a:effectLst/>
                <a:latin typeface="+mn-lt"/>
                <a:ea typeface="Calibri" panose="020F0502020204030204" pitchFamily="34" charset="0"/>
              </a:rPr>
              <a:t>В офисах и центрах разработки в Москве, Твери, Ростове-на-Дону, Краснодаре, Санкт-Петербурге и Алматы работают около 2 000 сотрудников. Благодаря сочетанию уникальных знаний, опыта и компетенций более чем в 40 отраслях, предлагает услуги в области стратегии и бизнес-консалтинга, технологических решений и других операций,</a:t>
            </a:r>
            <a:br>
              <a:rPr lang="ru-RU" sz="1000" dirty="0">
                <a:solidFill>
                  <a:schemeClr val="bg1"/>
                </a:solidFill>
                <a:effectLst/>
                <a:latin typeface="+mn-lt"/>
                <a:ea typeface="Calibri" panose="020F0502020204030204" pitchFamily="34" charset="0"/>
              </a:rPr>
            </a:br>
            <a:r>
              <a:rPr lang="ru-RU" sz="1000" dirty="0">
                <a:solidFill>
                  <a:schemeClr val="bg1"/>
                </a:solidFill>
                <a:effectLst/>
                <a:latin typeface="+mn-lt"/>
                <a:ea typeface="Calibri" panose="020F0502020204030204" pitchFamily="34" charset="0"/>
              </a:rPr>
              <a:t>направленных на цифровизацию бизнеса.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2851286E-94D4-47EF-9AE5-4CAFBE882139}"/>
              </a:ext>
            </a:extLst>
          </p:cNvPr>
          <p:cNvGrpSpPr/>
          <p:nvPr userDrawn="1"/>
        </p:nvGrpSpPr>
        <p:grpSpPr>
          <a:xfrm>
            <a:off x="10496981" y="4771699"/>
            <a:ext cx="1244601" cy="1559757"/>
            <a:chOff x="8858249" y="4771699"/>
            <a:chExt cx="1244601" cy="1559757"/>
          </a:xfrm>
        </p:grpSpPr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2E5943AA-8DF0-4042-8DD0-3A3478728281}"/>
                </a:ext>
              </a:extLst>
            </p:cNvPr>
            <p:cNvSpPr/>
            <p:nvPr userDrawn="1"/>
          </p:nvSpPr>
          <p:spPr>
            <a:xfrm>
              <a:off x="8858249" y="4771699"/>
              <a:ext cx="1244601" cy="1559757"/>
            </a:xfrm>
            <a:prstGeom prst="roundRect">
              <a:avLst>
                <a:gd name="adj" fmla="val 8104"/>
              </a:avLst>
            </a:prstGeom>
            <a:solidFill>
              <a:schemeClr val="bg1"/>
            </a:solidFill>
            <a:ln w="127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tlCol="0" anchor="ctr">
              <a:noAutofit/>
            </a:bodyPr>
            <a:lstStyle/>
            <a:p>
              <a:pPr algn="ctr"/>
              <a:endParaRPr lang="ru-RU" b="1" kern="0" dirty="0">
                <a:solidFill>
                  <a:prstClr val="white"/>
                </a:solidFill>
              </a:endParaRPr>
            </a:p>
          </p:txBody>
        </p:sp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C0D7D378-55F9-4910-A988-B16EF544CD15}"/>
                </a:ext>
              </a:extLst>
            </p:cNvPr>
            <p:cNvPicPr>
              <a:picLocks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978734" y="4889934"/>
              <a:ext cx="1003631" cy="1008131"/>
            </a:xfrm>
            <a:prstGeom prst="rect">
              <a:avLst/>
            </a:prstGeom>
          </p:spPr>
        </p:pic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65753B3A-2F1D-4A0A-95A4-705EC7083188}"/>
                </a:ext>
              </a:extLst>
            </p:cNvPr>
            <p:cNvSpPr>
              <a:spLocks/>
            </p:cNvSpPr>
            <p:nvPr userDrawn="1"/>
          </p:nvSpPr>
          <p:spPr>
            <a:xfrm>
              <a:off x="8858249" y="6037816"/>
              <a:ext cx="1244601" cy="153888"/>
            </a:xfrm>
            <a:prstGeom prst="rect">
              <a:avLst/>
            </a:prstGeom>
          </p:spPr>
          <p:txBody>
            <a:bodyPr wrap="square" lIns="0" tIns="0" rIns="0" bIns="0" anchor="b" anchorCtr="0">
              <a:spAutoFit/>
            </a:bodyPr>
            <a:lstStyle/>
            <a:p>
              <a:pPr algn="ctr">
                <a:spcAft>
                  <a:spcPts val="1200"/>
                </a:spcAft>
              </a:pPr>
              <a:r>
                <a:rPr lang="en-US" sz="1000" b="1" dirty="0">
                  <a:solidFill>
                    <a:schemeClr val="tx1"/>
                  </a:solidFill>
                  <a:effectLst/>
                  <a:latin typeface="+mn-lt"/>
                  <a:ea typeface="Calibri" panose="020F0502020204030204" pitchFamily="34" charset="0"/>
                </a:rPr>
                <a:t>axenix.pro</a:t>
              </a:r>
              <a:endParaRPr lang="ru-RU" sz="1000" b="1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C96B6298-6C9C-4F56-9C03-60D1CAB5D326}"/>
              </a:ext>
            </a:extLst>
          </p:cNvPr>
          <p:cNvGrpSpPr/>
          <p:nvPr userDrawn="1"/>
        </p:nvGrpSpPr>
        <p:grpSpPr>
          <a:xfrm>
            <a:off x="8828756" y="4771699"/>
            <a:ext cx="1244601" cy="1559757"/>
            <a:chOff x="10467974" y="4771699"/>
            <a:chExt cx="1244601" cy="1559757"/>
          </a:xfrm>
        </p:grpSpPr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A41C7AAA-ABD4-45B6-BBDF-D5F0E1D6EF94}"/>
                </a:ext>
              </a:extLst>
            </p:cNvPr>
            <p:cNvSpPr/>
            <p:nvPr userDrawn="1"/>
          </p:nvSpPr>
          <p:spPr>
            <a:xfrm>
              <a:off x="10467974" y="4771699"/>
              <a:ext cx="1244601" cy="1559757"/>
            </a:xfrm>
            <a:prstGeom prst="roundRect">
              <a:avLst>
                <a:gd name="adj" fmla="val 8104"/>
              </a:avLst>
            </a:prstGeom>
            <a:solidFill>
              <a:schemeClr val="bg1"/>
            </a:solidFill>
            <a:ln w="127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tlCol="0" anchor="ctr">
              <a:noAutofit/>
            </a:bodyPr>
            <a:lstStyle/>
            <a:p>
              <a:pPr algn="ctr"/>
              <a:endParaRPr lang="ru-RU" b="1" kern="0" dirty="0">
                <a:solidFill>
                  <a:prstClr val="white"/>
                </a:solidFill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1193D91F-ECD1-437A-AB99-5134799C024E}"/>
                </a:ext>
              </a:extLst>
            </p:cNvPr>
            <p:cNvPicPr>
              <a:picLocks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588459" y="4889934"/>
              <a:ext cx="1003631" cy="1008131"/>
            </a:xfrm>
            <a:prstGeom prst="rect">
              <a:avLst/>
            </a:prstGeom>
          </p:spPr>
        </p:pic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B61F16EC-034C-46CE-B459-0A0B8DF738B5}"/>
                </a:ext>
              </a:extLst>
            </p:cNvPr>
            <p:cNvSpPr>
              <a:spLocks/>
            </p:cNvSpPr>
            <p:nvPr userDrawn="1"/>
          </p:nvSpPr>
          <p:spPr>
            <a:xfrm>
              <a:off x="10467974" y="6037816"/>
              <a:ext cx="1244601" cy="153888"/>
            </a:xfrm>
            <a:prstGeom prst="rect">
              <a:avLst/>
            </a:prstGeom>
          </p:spPr>
          <p:txBody>
            <a:bodyPr wrap="square" lIns="0" tIns="0" rIns="0" bIns="0" anchor="b" anchorCtr="0">
              <a:spAutoFit/>
            </a:bodyPr>
            <a:lstStyle/>
            <a:p>
              <a:pPr algn="ctr">
                <a:spcAft>
                  <a:spcPts val="1200"/>
                </a:spcAft>
              </a:pPr>
              <a:r>
                <a:rPr lang="en-US" sz="1000" b="1" dirty="0">
                  <a:solidFill>
                    <a:schemeClr val="tx1"/>
                  </a:solidFill>
                  <a:effectLst/>
                  <a:latin typeface="+mn-lt"/>
                  <a:ea typeface="Calibri" panose="020F0502020204030204" pitchFamily="34" charset="0"/>
                </a:rPr>
                <a:t>@axenix_ru</a:t>
              </a:r>
              <a:endParaRPr lang="ru-RU" sz="1000" b="1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</a:endParaRPr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1287EC87-3D97-40AD-B938-1DC57B30743E}"/>
              </a:ext>
            </a:extLst>
          </p:cNvPr>
          <p:cNvSpPr txBox="1">
            <a:spLocks/>
          </p:cNvSpPr>
          <p:nvPr userDrawn="1"/>
        </p:nvSpPr>
        <p:spPr>
          <a:xfrm>
            <a:off x="450849" y="2239493"/>
            <a:ext cx="5465505" cy="1477328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defPPr>
              <a:defRPr lang="ru-RU"/>
            </a:defPPr>
            <a:lvl1pPr>
              <a:spcAft>
                <a:spcPts val="1200"/>
              </a:spcAft>
              <a:defRPr sz="1000">
                <a:solidFill>
                  <a:schemeClr val="bg1"/>
                </a:solidFill>
                <a:effectLst/>
                <a:ea typeface="Calibri" panose="020F0502020204030204" pitchFamily="34" charset="0"/>
              </a:defRPr>
            </a:lvl1pPr>
          </a:lstStyle>
          <a:p>
            <a:pPr lvl="0"/>
            <a:r>
              <a:rPr lang="ru-RU" sz="7200" b="1" dirty="0">
                <a:latin typeface="+mj-lt"/>
              </a:rPr>
              <a:t>Спасибо!</a:t>
            </a:r>
          </a:p>
        </p:txBody>
      </p:sp>
    </p:spTree>
    <p:extLst>
      <p:ext uri="{BB962C8B-B14F-4D97-AF65-F5344CB8AC3E}">
        <p14:creationId xmlns:p14="http://schemas.microsoft.com/office/powerpoint/2010/main" val="9775722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o 3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2E67736-2CFF-411B-A9E2-8C6A8C18AE13}"/>
              </a:ext>
            </a:extLst>
          </p:cNvPr>
          <p:cNvSpPr>
            <a:spLocks/>
          </p:cNvSpPr>
          <p:nvPr userDrawn="1"/>
        </p:nvSpPr>
        <p:spPr bwMode="gray">
          <a:xfrm>
            <a:off x="9188903" y="0"/>
            <a:ext cx="3003097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l">
              <a:spcBef>
                <a:spcPts val="0"/>
              </a:spcBef>
              <a:spcAft>
                <a:spcPts val="600"/>
              </a:spcAft>
            </a:pPr>
            <a:endParaRPr lang="ru-RU" dirty="0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5A1F0855-F439-4289-A4E8-7ECBEBD8AA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638903" y="1438275"/>
            <a:ext cx="2102678" cy="4881563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ru-RU" sz="2800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>
              <a:defRPr lang="en-US" sz="1800" smtClean="0"/>
            </a:lvl2pPr>
            <a:lvl3pPr>
              <a:defRPr lang="en-US" sz="18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r>
              <a:rPr lang="ru-RU" dirty="0"/>
              <a:t>Здесь может быть цитата, ключевой вывод слайда и другой контент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7D387F2F-2329-4113-AE63-60B7CE9BC1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851" y="271463"/>
            <a:ext cx="8288052" cy="46166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3000"/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46" name="Slide Number">
            <a:extLst>
              <a:ext uri="{FF2B5EF4-FFF2-40B4-BE49-F238E27FC236}">
                <a16:creationId xmlns:a16="http://schemas.microsoft.com/office/drawing/2014/main" id="{9DD2F828-9251-44C9-A72F-77BA3D4FED70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black">
          <a:xfrm>
            <a:off x="10646376" y="6588000"/>
            <a:ext cx="1095624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60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600"/>
                </a:spcAft>
                <a:defRPr/>
              </a:pPr>
              <a:t>‹#›</a:t>
            </a:fld>
            <a:endParaRPr lang="ru-RU" sz="8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3A44FA2D-5EA9-46AB-B4C7-318838ABC508}"/>
              </a:ext>
            </a:extLst>
          </p:cNvPr>
          <p:cNvGrpSpPr/>
          <p:nvPr userDrawn="1"/>
        </p:nvGrpSpPr>
        <p:grpSpPr>
          <a:xfrm>
            <a:off x="11480085" y="271463"/>
            <a:ext cx="262653" cy="352106"/>
            <a:chOff x="693246" y="360000"/>
            <a:chExt cx="406344" cy="544734"/>
          </a:xfrm>
          <a:solidFill>
            <a:srgbClr val="F05626"/>
          </a:solidFill>
        </p:grpSpPr>
        <p:sp>
          <p:nvSpPr>
            <p:cNvPr id="8" name="Freeform 11">
              <a:extLst>
                <a:ext uri="{FF2B5EF4-FFF2-40B4-BE49-F238E27FC236}">
                  <a16:creationId xmlns:a16="http://schemas.microsoft.com/office/drawing/2014/main" id="{D2ACF44B-21E4-4A3F-9506-C987E5BEEC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3246" y="360000"/>
              <a:ext cx="406344" cy="544734"/>
            </a:xfrm>
            <a:custGeom>
              <a:avLst/>
              <a:gdLst>
                <a:gd name="T0" fmla="*/ 535 w 3625"/>
                <a:gd name="T1" fmla="*/ 4303 h 4860"/>
                <a:gd name="T2" fmla="*/ 459 w 3625"/>
                <a:gd name="T3" fmla="*/ 4139 h 4860"/>
                <a:gd name="T4" fmla="*/ 435 w 3625"/>
                <a:gd name="T5" fmla="*/ 3604 h 4860"/>
                <a:gd name="T6" fmla="*/ 718 w 3625"/>
                <a:gd name="T7" fmla="*/ 3134 h 4860"/>
                <a:gd name="T8" fmla="*/ 3624 w 3625"/>
                <a:gd name="T9" fmla="*/ 518 h 4860"/>
                <a:gd name="T10" fmla="*/ 3624 w 3625"/>
                <a:gd name="T11" fmla="*/ 0 h 4860"/>
                <a:gd name="T12" fmla="*/ 461 w 3625"/>
                <a:gd name="T13" fmla="*/ 2848 h 4860"/>
                <a:gd name="T14" fmla="*/ 148 w 3625"/>
                <a:gd name="T15" fmla="*/ 3271 h 4860"/>
                <a:gd name="T16" fmla="*/ 36 w 3625"/>
                <a:gd name="T17" fmla="*/ 4016 h 4860"/>
                <a:gd name="T18" fmla="*/ 363 w 3625"/>
                <a:gd name="T19" fmla="*/ 4717 h 4860"/>
                <a:gd name="T20" fmla="*/ 363 w 3625"/>
                <a:gd name="T21" fmla="*/ 4717 h 4860"/>
                <a:gd name="T22" fmla="*/ 493 w 3625"/>
                <a:gd name="T23" fmla="*/ 4860 h 4860"/>
                <a:gd name="T24" fmla="*/ 3625 w 3625"/>
                <a:gd name="T25" fmla="*/ 2040 h 4860"/>
                <a:gd name="T26" fmla="*/ 3625 w 3625"/>
                <a:gd name="T27" fmla="*/ 1522 h 4860"/>
                <a:gd name="T28" fmla="*/ 535 w 3625"/>
                <a:gd name="T29" fmla="*/ 4303 h 4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25" h="4860">
                  <a:moveTo>
                    <a:pt x="535" y="4303"/>
                  </a:moveTo>
                  <a:cubicBezTo>
                    <a:pt x="505" y="4250"/>
                    <a:pt x="479" y="4195"/>
                    <a:pt x="459" y="4139"/>
                  </a:cubicBezTo>
                  <a:cubicBezTo>
                    <a:pt x="399" y="3966"/>
                    <a:pt x="392" y="3780"/>
                    <a:pt x="435" y="3604"/>
                  </a:cubicBezTo>
                  <a:cubicBezTo>
                    <a:pt x="479" y="3428"/>
                    <a:pt x="573" y="3264"/>
                    <a:pt x="718" y="3134"/>
                  </a:cubicBezTo>
                  <a:cubicBezTo>
                    <a:pt x="3624" y="518"/>
                    <a:pt x="3624" y="518"/>
                    <a:pt x="3624" y="518"/>
                  </a:cubicBezTo>
                  <a:cubicBezTo>
                    <a:pt x="3624" y="0"/>
                    <a:pt x="3624" y="0"/>
                    <a:pt x="3624" y="0"/>
                  </a:cubicBezTo>
                  <a:cubicBezTo>
                    <a:pt x="461" y="2848"/>
                    <a:pt x="461" y="2848"/>
                    <a:pt x="461" y="2848"/>
                  </a:cubicBezTo>
                  <a:cubicBezTo>
                    <a:pt x="326" y="2970"/>
                    <a:pt x="220" y="3115"/>
                    <a:pt x="148" y="3271"/>
                  </a:cubicBezTo>
                  <a:cubicBezTo>
                    <a:pt x="38" y="3505"/>
                    <a:pt x="0" y="3764"/>
                    <a:pt x="36" y="4016"/>
                  </a:cubicBezTo>
                  <a:cubicBezTo>
                    <a:pt x="71" y="4268"/>
                    <a:pt x="180" y="4514"/>
                    <a:pt x="363" y="4717"/>
                  </a:cubicBezTo>
                  <a:cubicBezTo>
                    <a:pt x="363" y="4717"/>
                    <a:pt x="363" y="4717"/>
                    <a:pt x="363" y="4717"/>
                  </a:cubicBezTo>
                  <a:cubicBezTo>
                    <a:pt x="493" y="4860"/>
                    <a:pt x="493" y="4860"/>
                    <a:pt x="493" y="4860"/>
                  </a:cubicBezTo>
                  <a:cubicBezTo>
                    <a:pt x="3625" y="2040"/>
                    <a:pt x="3625" y="2040"/>
                    <a:pt x="3625" y="2040"/>
                  </a:cubicBezTo>
                  <a:cubicBezTo>
                    <a:pt x="3625" y="1522"/>
                    <a:pt x="3625" y="1522"/>
                    <a:pt x="3625" y="1522"/>
                  </a:cubicBezTo>
                  <a:lnTo>
                    <a:pt x="535" y="4303"/>
                  </a:lnTo>
                  <a:close/>
                </a:path>
              </a:pathLst>
            </a:custGeom>
            <a:solidFill>
              <a:srgbClr val="F370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ru-RU"/>
            </a:p>
          </p:txBody>
        </p:sp>
        <p:sp>
          <p:nvSpPr>
            <p:cNvPr id="9" name="Freeform 12">
              <a:extLst>
                <a:ext uri="{FF2B5EF4-FFF2-40B4-BE49-F238E27FC236}">
                  <a16:creationId xmlns:a16="http://schemas.microsoft.com/office/drawing/2014/main" id="{040BA7E4-132C-43EC-8034-51D331202C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6681" y="705045"/>
              <a:ext cx="221980" cy="199689"/>
            </a:xfrm>
            <a:custGeom>
              <a:avLst/>
              <a:gdLst>
                <a:gd name="T0" fmla="*/ 0 w 478"/>
                <a:gd name="T1" fmla="*/ 430 h 430"/>
                <a:gd name="T2" fmla="*/ 140 w 478"/>
                <a:gd name="T3" fmla="*/ 430 h 430"/>
                <a:gd name="T4" fmla="*/ 478 w 478"/>
                <a:gd name="T5" fmla="*/ 125 h 430"/>
                <a:gd name="T6" fmla="*/ 478 w 478"/>
                <a:gd name="T7" fmla="*/ 0 h 430"/>
                <a:gd name="T8" fmla="*/ 0 w 478"/>
                <a:gd name="T9" fmla="*/ 43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8" h="430">
                  <a:moveTo>
                    <a:pt x="0" y="430"/>
                  </a:moveTo>
                  <a:lnTo>
                    <a:pt x="140" y="430"/>
                  </a:lnTo>
                  <a:lnTo>
                    <a:pt x="478" y="125"/>
                  </a:lnTo>
                  <a:lnTo>
                    <a:pt x="478" y="0"/>
                  </a:lnTo>
                  <a:lnTo>
                    <a:pt x="0" y="430"/>
                  </a:lnTo>
                  <a:close/>
                </a:path>
              </a:pathLst>
            </a:custGeom>
            <a:solidFill>
              <a:srgbClr val="F370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9821890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o 2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2E67736-2CFF-411B-A9E2-8C6A8C18AE13}"/>
              </a:ext>
            </a:extLst>
          </p:cNvPr>
          <p:cNvSpPr/>
          <p:nvPr userDrawn="1"/>
        </p:nvSpPr>
        <p:spPr bwMode="gray">
          <a:xfrm>
            <a:off x="8217962" y="0"/>
            <a:ext cx="3974038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l">
              <a:spcBef>
                <a:spcPts val="0"/>
              </a:spcBef>
              <a:spcAft>
                <a:spcPts val="600"/>
              </a:spcAft>
            </a:pPr>
            <a:endParaRPr lang="ru-RU" dirty="0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5A1F0855-F439-4289-A4E8-7ECBEBD8AA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578106" y="1438275"/>
            <a:ext cx="3163475" cy="4881563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ru-RU" sz="2800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>
              <a:defRPr lang="en-US" sz="1800" smtClean="0"/>
            </a:lvl2pPr>
            <a:lvl3pPr>
              <a:defRPr lang="en-US" sz="18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r>
              <a:rPr lang="ru-RU" dirty="0"/>
              <a:t>Здесь может быть цитата, ключевой вывод слайда и другой контент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7D387F2F-2329-4113-AE63-60B7CE9BC1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851" y="271463"/>
            <a:ext cx="7406963" cy="46166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46" name="Slide Number">
            <a:extLst>
              <a:ext uri="{FF2B5EF4-FFF2-40B4-BE49-F238E27FC236}">
                <a16:creationId xmlns:a16="http://schemas.microsoft.com/office/drawing/2014/main" id="{9DD2F828-9251-44C9-A72F-77BA3D4FED70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black">
          <a:xfrm>
            <a:off x="10646376" y="6588000"/>
            <a:ext cx="1095624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60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600"/>
                </a:spcAft>
                <a:defRPr/>
              </a:pPr>
              <a:t>‹#›</a:t>
            </a:fld>
            <a:endParaRPr lang="ru-RU" sz="8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3EF911C3-A507-4D5C-AA8B-484075EAD2D5}"/>
              </a:ext>
            </a:extLst>
          </p:cNvPr>
          <p:cNvGrpSpPr/>
          <p:nvPr userDrawn="1"/>
        </p:nvGrpSpPr>
        <p:grpSpPr>
          <a:xfrm>
            <a:off x="11480085" y="271463"/>
            <a:ext cx="262653" cy="352106"/>
            <a:chOff x="693246" y="360000"/>
            <a:chExt cx="406344" cy="544734"/>
          </a:xfrm>
          <a:solidFill>
            <a:srgbClr val="F05626"/>
          </a:solidFill>
        </p:grpSpPr>
        <p:sp>
          <p:nvSpPr>
            <p:cNvPr id="8" name="Freeform 11">
              <a:extLst>
                <a:ext uri="{FF2B5EF4-FFF2-40B4-BE49-F238E27FC236}">
                  <a16:creationId xmlns:a16="http://schemas.microsoft.com/office/drawing/2014/main" id="{D265763D-B6A7-4E29-98E9-1289D73B4D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3246" y="360000"/>
              <a:ext cx="406344" cy="544734"/>
            </a:xfrm>
            <a:custGeom>
              <a:avLst/>
              <a:gdLst>
                <a:gd name="T0" fmla="*/ 535 w 3625"/>
                <a:gd name="T1" fmla="*/ 4303 h 4860"/>
                <a:gd name="T2" fmla="*/ 459 w 3625"/>
                <a:gd name="T3" fmla="*/ 4139 h 4860"/>
                <a:gd name="T4" fmla="*/ 435 w 3625"/>
                <a:gd name="T5" fmla="*/ 3604 h 4860"/>
                <a:gd name="T6" fmla="*/ 718 w 3625"/>
                <a:gd name="T7" fmla="*/ 3134 h 4860"/>
                <a:gd name="T8" fmla="*/ 3624 w 3625"/>
                <a:gd name="T9" fmla="*/ 518 h 4860"/>
                <a:gd name="T10" fmla="*/ 3624 w 3625"/>
                <a:gd name="T11" fmla="*/ 0 h 4860"/>
                <a:gd name="T12" fmla="*/ 461 w 3625"/>
                <a:gd name="T13" fmla="*/ 2848 h 4860"/>
                <a:gd name="T14" fmla="*/ 148 w 3625"/>
                <a:gd name="T15" fmla="*/ 3271 h 4860"/>
                <a:gd name="T16" fmla="*/ 36 w 3625"/>
                <a:gd name="T17" fmla="*/ 4016 h 4860"/>
                <a:gd name="T18" fmla="*/ 363 w 3625"/>
                <a:gd name="T19" fmla="*/ 4717 h 4860"/>
                <a:gd name="T20" fmla="*/ 363 w 3625"/>
                <a:gd name="T21" fmla="*/ 4717 h 4860"/>
                <a:gd name="T22" fmla="*/ 493 w 3625"/>
                <a:gd name="T23" fmla="*/ 4860 h 4860"/>
                <a:gd name="T24" fmla="*/ 3625 w 3625"/>
                <a:gd name="T25" fmla="*/ 2040 h 4860"/>
                <a:gd name="T26" fmla="*/ 3625 w 3625"/>
                <a:gd name="T27" fmla="*/ 1522 h 4860"/>
                <a:gd name="T28" fmla="*/ 535 w 3625"/>
                <a:gd name="T29" fmla="*/ 4303 h 4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25" h="4860">
                  <a:moveTo>
                    <a:pt x="535" y="4303"/>
                  </a:moveTo>
                  <a:cubicBezTo>
                    <a:pt x="505" y="4250"/>
                    <a:pt x="479" y="4195"/>
                    <a:pt x="459" y="4139"/>
                  </a:cubicBezTo>
                  <a:cubicBezTo>
                    <a:pt x="399" y="3966"/>
                    <a:pt x="392" y="3780"/>
                    <a:pt x="435" y="3604"/>
                  </a:cubicBezTo>
                  <a:cubicBezTo>
                    <a:pt x="479" y="3428"/>
                    <a:pt x="573" y="3264"/>
                    <a:pt x="718" y="3134"/>
                  </a:cubicBezTo>
                  <a:cubicBezTo>
                    <a:pt x="3624" y="518"/>
                    <a:pt x="3624" y="518"/>
                    <a:pt x="3624" y="518"/>
                  </a:cubicBezTo>
                  <a:cubicBezTo>
                    <a:pt x="3624" y="0"/>
                    <a:pt x="3624" y="0"/>
                    <a:pt x="3624" y="0"/>
                  </a:cubicBezTo>
                  <a:cubicBezTo>
                    <a:pt x="461" y="2848"/>
                    <a:pt x="461" y="2848"/>
                    <a:pt x="461" y="2848"/>
                  </a:cubicBezTo>
                  <a:cubicBezTo>
                    <a:pt x="326" y="2970"/>
                    <a:pt x="220" y="3115"/>
                    <a:pt x="148" y="3271"/>
                  </a:cubicBezTo>
                  <a:cubicBezTo>
                    <a:pt x="38" y="3505"/>
                    <a:pt x="0" y="3764"/>
                    <a:pt x="36" y="4016"/>
                  </a:cubicBezTo>
                  <a:cubicBezTo>
                    <a:pt x="71" y="4268"/>
                    <a:pt x="180" y="4514"/>
                    <a:pt x="363" y="4717"/>
                  </a:cubicBezTo>
                  <a:cubicBezTo>
                    <a:pt x="363" y="4717"/>
                    <a:pt x="363" y="4717"/>
                    <a:pt x="363" y="4717"/>
                  </a:cubicBezTo>
                  <a:cubicBezTo>
                    <a:pt x="493" y="4860"/>
                    <a:pt x="493" y="4860"/>
                    <a:pt x="493" y="4860"/>
                  </a:cubicBezTo>
                  <a:cubicBezTo>
                    <a:pt x="3625" y="2040"/>
                    <a:pt x="3625" y="2040"/>
                    <a:pt x="3625" y="2040"/>
                  </a:cubicBezTo>
                  <a:cubicBezTo>
                    <a:pt x="3625" y="1522"/>
                    <a:pt x="3625" y="1522"/>
                    <a:pt x="3625" y="1522"/>
                  </a:cubicBezTo>
                  <a:lnTo>
                    <a:pt x="535" y="4303"/>
                  </a:lnTo>
                  <a:close/>
                </a:path>
              </a:pathLst>
            </a:custGeom>
            <a:solidFill>
              <a:srgbClr val="F370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ru-RU"/>
            </a:p>
          </p:txBody>
        </p:sp>
        <p:sp>
          <p:nvSpPr>
            <p:cNvPr id="9" name="Freeform 12">
              <a:extLst>
                <a:ext uri="{FF2B5EF4-FFF2-40B4-BE49-F238E27FC236}">
                  <a16:creationId xmlns:a16="http://schemas.microsoft.com/office/drawing/2014/main" id="{AD8CD8FC-6344-4853-86E2-AF449FC76A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6681" y="705045"/>
              <a:ext cx="221980" cy="199689"/>
            </a:xfrm>
            <a:custGeom>
              <a:avLst/>
              <a:gdLst>
                <a:gd name="T0" fmla="*/ 0 w 478"/>
                <a:gd name="T1" fmla="*/ 430 h 430"/>
                <a:gd name="T2" fmla="*/ 140 w 478"/>
                <a:gd name="T3" fmla="*/ 430 h 430"/>
                <a:gd name="T4" fmla="*/ 478 w 478"/>
                <a:gd name="T5" fmla="*/ 125 h 430"/>
                <a:gd name="T6" fmla="*/ 478 w 478"/>
                <a:gd name="T7" fmla="*/ 0 h 430"/>
                <a:gd name="T8" fmla="*/ 0 w 478"/>
                <a:gd name="T9" fmla="*/ 43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8" h="430">
                  <a:moveTo>
                    <a:pt x="0" y="430"/>
                  </a:moveTo>
                  <a:lnTo>
                    <a:pt x="140" y="430"/>
                  </a:lnTo>
                  <a:lnTo>
                    <a:pt x="478" y="125"/>
                  </a:lnTo>
                  <a:lnTo>
                    <a:pt x="478" y="0"/>
                  </a:lnTo>
                  <a:lnTo>
                    <a:pt x="0" y="430"/>
                  </a:lnTo>
                  <a:close/>
                </a:path>
              </a:pathLst>
            </a:custGeom>
            <a:solidFill>
              <a:srgbClr val="F370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5946389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o 1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2E67736-2CFF-411B-A9E2-8C6A8C18AE13}"/>
              </a:ext>
            </a:extLst>
          </p:cNvPr>
          <p:cNvSpPr/>
          <p:nvPr userDrawn="1"/>
        </p:nvSpPr>
        <p:spPr bwMode="gray"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spcBef>
                <a:spcPts val="0"/>
              </a:spcBef>
              <a:spcAft>
                <a:spcPts val="600"/>
              </a:spcAft>
            </a:pPr>
            <a:endParaRPr lang="ru-RU" dirty="0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5A1F0855-F439-4289-A4E8-7ECBEBD8AA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56146" y="1438275"/>
            <a:ext cx="5285435" cy="4881563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ru-RU" sz="2800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>
              <a:defRPr lang="en-US" sz="1800" smtClean="0"/>
            </a:lvl2pPr>
            <a:lvl3pPr>
              <a:defRPr lang="en-US" sz="18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r>
              <a:rPr lang="ru-RU" dirty="0"/>
              <a:t>Здесь может быть цитата, ключевой вывод слайда и другой контент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7D387F2F-2329-4113-AE63-60B7CE9BC1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851" y="271463"/>
            <a:ext cx="5285003" cy="46166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3000"/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46" name="Slide Number">
            <a:extLst>
              <a:ext uri="{FF2B5EF4-FFF2-40B4-BE49-F238E27FC236}">
                <a16:creationId xmlns:a16="http://schemas.microsoft.com/office/drawing/2014/main" id="{9DD2F828-9251-44C9-A72F-77BA3D4FED70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black">
          <a:xfrm>
            <a:off x="10646376" y="6588000"/>
            <a:ext cx="1095624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60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600"/>
                </a:spcAft>
                <a:defRPr/>
              </a:pPr>
              <a:t>‹#›</a:t>
            </a:fld>
            <a:endParaRPr lang="ru-RU" sz="8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256596C-068D-40E0-BBAF-8309FC92BB59}"/>
              </a:ext>
            </a:extLst>
          </p:cNvPr>
          <p:cNvGrpSpPr/>
          <p:nvPr userDrawn="1"/>
        </p:nvGrpSpPr>
        <p:grpSpPr>
          <a:xfrm>
            <a:off x="11480085" y="271463"/>
            <a:ext cx="262653" cy="352106"/>
            <a:chOff x="693246" y="360000"/>
            <a:chExt cx="406344" cy="544734"/>
          </a:xfrm>
          <a:solidFill>
            <a:srgbClr val="F05626"/>
          </a:solidFill>
        </p:grpSpPr>
        <p:sp>
          <p:nvSpPr>
            <p:cNvPr id="8" name="Freeform 11">
              <a:extLst>
                <a:ext uri="{FF2B5EF4-FFF2-40B4-BE49-F238E27FC236}">
                  <a16:creationId xmlns:a16="http://schemas.microsoft.com/office/drawing/2014/main" id="{985BA1D9-F7BB-43C4-BBC0-C2DF484E2F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3246" y="360000"/>
              <a:ext cx="406344" cy="544734"/>
            </a:xfrm>
            <a:custGeom>
              <a:avLst/>
              <a:gdLst>
                <a:gd name="T0" fmla="*/ 535 w 3625"/>
                <a:gd name="T1" fmla="*/ 4303 h 4860"/>
                <a:gd name="T2" fmla="*/ 459 w 3625"/>
                <a:gd name="T3" fmla="*/ 4139 h 4860"/>
                <a:gd name="T4" fmla="*/ 435 w 3625"/>
                <a:gd name="T5" fmla="*/ 3604 h 4860"/>
                <a:gd name="T6" fmla="*/ 718 w 3625"/>
                <a:gd name="T7" fmla="*/ 3134 h 4860"/>
                <a:gd name="T8" fmla="*/ 3624 w 3625"/>
                <a:gd name="T9" fmla="*/ 518 h 4860"/>
                <a:gd name="T10" fmla="*/ 3624 w 3625"/>
                <a:gd name="T11" fmla="*/ 0 h 4860"/>
                <a:gd name="T12" fmla="*/ 461 w 3625"/>
                <a:gd name="T13" fmla="*/ 2848 h 4860"/>
                <a:gd name="T14" fmla="*/ 148 w 3625"/>
                <a:gd name="T15" fmla="*/ 3271 h 4860"/>
                <a:gd name="T16" fmla="*/ 36 w 3625"/>
                <a:gd name="T17" fmla="*/ 4016 h 4860"/>
                <a:gd name="T18" fmla="*/ 363 w 3625"/>
                <a:gd name="T19" fmla="*/ 4717 h 4860"/>
                <a:gd name="T20" fmla="*/ 363 w 3625"/>
                <a:gd name="T21" fmla="*/ 4717 h 4860"/>
                <a:gd name="T22" fmla="*/ 493 w 3625"/>
                <a:gd name="T23" fmla="*/ 4860 h 4860"/>
                <a:gd name="T24" fmla="*/ 3625 w 3625"/>
                <a:gd name="T25" fmla="*/ 2040 h 4860"/>
                <a:gd name="T26" fmla="*/ 3625 w 3625"/>
                <a:gd name="T27" fmla="*/ 1522 h 4860"/>
                <a:gd name="T28" fmla="*/ 535 w 3625"/>
                <a:gd name="T29" fmla="*/ 4303 h 4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25" h="4860">
                  <a:moveTo>
                    <a:pt x="535" y="4303"/>
                  </a:moveTo>
                  <a:cubicBezTo>
                    <a:pt x="505" y="4250"/>
                    <a:pt x="479" y="4195"/>
                    <a:pt x="459" y="4139"/>
                  </a:cubicBezTo>
                  <a:cubicBezTo>
                    <a:pt x="399" y="3966"/>
                    <a:pt x="392" y="3780"/>
                    <a:pt x="435" y="3604"/>
                  </a:cubicBezTo>
                  <a:cubicBezTo>
                    <a:pt x="479" y="3428"/>
                    <a:pt x="573" y="3264"/>
                    <a:pt x="718" y="3134"/>
                  </a:cubicBezTo>
                  <a:cubicBezTo>
                    <a:pt x="3624" y="518"/>
                    <a:pt x="3624" y="518"/>
                    <a:pt x="3624" y="518"/>
                  </a:cubicBezTo>
                  <a:cubicBezTo>
                    <a:pt x="3624" y="0"/>
                    <a:pt x="3624" y="0"/>
                    <a:pt x="3624" y="0"/>
                  </a:cubicBezTo>
                  <a:cubicBezTo>
                    <a:pt x="461" y="2848"/>
                    <a:pt x="461" y="2848"/>
                    <a:pt x="461" y="2848"/>
                  </a:cubicBezTo>
                  <a:cubicBezTo>
                    <a:pt x="326" y="2970"/>
                    <a:pt x="220" y="3115"/>
                    <a:pt x="148" y="3271"/>
                  </a:cubicBezTo>
                  <a:cubicBezTo>
                    <a:pt x="38" y="3505"/>
                    <a:pt x="0" y="3764"/>
                    <a:pt x="36" y="4016"/>
                  </a:cubicBezTo>
                  <a:cubicBezTo>
                    <a:pt x="71" y="4268"/>
                    <a:pt x="180" y="4514"/>
                    <a:pt x="363" y="4717"/>
                  </a:cubicBezTo>
                  <a:cubicBezTo>
                    <a:pt x="363" y="4717"/>
                    <a:pt x="363" y="4717"/>
                    <a:pt x="363" y="4717"/>
                  </a:cubicBezTo>
                  <a:cubicBezTo>
                    <a:pt x="493" y="4860"/>
                    <a:pt x="493" y="4860"/>
                    <a:pt x="493" y="4860"/>
                  </a:cubicBezTo>
                  <a:cubicBezTo>
                    <a:pt x="3625" y="2040"/>
                    <a:pt x="3625" y="2040"/>
                    <a:pt x="3625" y="2040"/>
                  </a:cubicBezTo>
                  <a:cubicBezTo>
                    <a:pt x="3625" y="1522"/>
                    <a:pt x="3625" y="1522"/>
                    <a:pt x="3625" y="1522"/>
                  </a:cubicBezTo>
                  <a:lnTo>
                    <a:pt x="535" y="4303"/>
                  </a:lnTo>
                  <a:close/>
                </a:path>
              </a:pathLst>
            </a:custGeom>
            <a:solidFill>
              <a:srgbClr val="F370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ru-RU"/>
            </a:p>
          </p:txBody>
        </p:sp>
        <p:sp>
          <p:nvSpPr>
            <p:cNvPr id="9" name="Freeform 12">
              <a:extLst>
                <a:ext uri="{FF2B5EF4-FFF2-40B4-BE49-F238E27FC236}">
                  <a16:creationId xmlns:a16="http://schemas.microsoft.com/office/drawing/2014/main" id="{0E34178F-87FF-42C7-BB87-D5C8734035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6681" y="705045"/>
              <a:ext cx="221980" cy="199689"/>
            </a:xfrm>
            <a:custGeom>
              <a:avLst/>
              <a:gdLst>
                <a:gd name="T0" fmla="*/ 0 w 478"/>
                <a:gd name="T1" fmla="*/ 430 h 430"/>
                <a:gd name="T2" fmla="*/ 140 w 478"/>
                <a:gd name="T3" fmla="*/ 430 h 430"/>
                <a:gd name="T4" fmla="*/ 478 w 478"/>
                <a:gd name="T5" fmla="*/ 125 h 430"/>
                <a:gd name="T6" fmla="*/ 478 w 478"/>
                <a:gd name="T7" fmla="*/ 0 h 430"/>
                <a:gd name="T8" fmla="*/ 0 w 478"/>
                <a:gd name="T9" fmla="*/ 43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8" h="430">
                  <a:moveTo>
                    <a:pt x="0" y="430"/>
                  </a:moveTo>
                  <a:lnTo>
                    <a:pt x="140" y="430"/>
                  </a:lnTo>
                  <a:lnTo>
                    <a:pt x="478" y="125"/>
                  </a:lnTo>
                  <a:lnTo>
                    <a:pt x="478" y="0"/>
                  </a:lnTo>
                  <a:lnTo>
                    <a:pt x="0" y="430"/>
                  </a:lnTo>
                  <a:close/>
                </a:path>
              </a:pathLst>
            </a:custGeom>
            <a:solidFill>
              <a:srgbClr val="F370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27885358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o 11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2E67736-2CFF-411B-A9E2-8C6A8C18AE13}"/>
              </a:ext>
            </a:extLst>
          </p:cNvPr>
          <p:cNvSpPr/>
          <p:nvPr userDrawn="1"/>
        </p:nvSpPr>
        <p:spPr bwMode="gray">
          <a:xfrm>
            <a:off x="11130786" y="0"/>
            <a:ext cx="1061213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spcBef>
                <a:spcPts val="0"/>
              </a:spcBef>
              <a:spcAft>
                <a:spcPts val="600"/>
              </a:spcAft>
            </a:pPr>
            <a:endParaRPr lang="ru-RU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7D387F2F-2329-4113-AE63-60B7CE9BC1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851" y="271463"/>
            <a:ext cx="10319789" cy="46166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3000"/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46" name="Slide Number">
            <a:extLst>
              <a:ext uri="{FF2B5EF4-FFF2-40B4-BE49-F238E27FC236}">
                <a16:creationId xmlns:a16="http://schemas.microsoft.com/office/drawing/2014/main" id="{9DD2F828-9251-44C9-A72F-77BA3D4FED70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black">
          <a:xfrm>
            <a:off x="10646376" y="6588000"/>
            <a:ext cx="1095624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60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600"/>
                </a:spcAft>
                <a:defRPr/>
              </a:pPr>
              <a:t>‹#›</a:t>
            </a:fld>
            <a:endParaRPr lang="ru-RU" sz="8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86ADD67-B6F2-4EC0-8DCA-DD5B242F09A8}"/>
              </a:ext>
            </a:extLst>
          </p:cNvPr>
          <p:cNvGrpSpPr/>
          <p:nvPr userDrawn="1"/>
        </p:nvGrpSpPr>
        <p:grpSpPr>
          <a:xfrm>
            <a:off x="11480085" y="271463"/>
            <a:ext cx="262653" cy="352106"/>
            <a:chOff x="693246" y="360000"/>
            <a:chExt cx="406344" cy="544734"/>
          </a:xfrm>
          <a:solidFill>
            <a:srgbClr val="F05626"/>
          </a:solidFill>
        </p:grpSpPr>
        <p:sp>
          <p:nvSpPr>
            <p:cNvPr id="6" name="Freeform 11">
              <a:extLst>
                <a:ext uri="{FF2B5EF4-FFF2-40B4-BE49-F238E27FC236}">
                  <a16:creationId xmlns:a16="http://schemas.microsoft.com/office/drawing/2014/main" id="{BC5AE4BB-C181-4A65-A323-8EA3DBB0D9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3246" y="360000"/>
              <a:ext cx="406344" cy="544734"/>
            </a:xfrm>
            <a:custGeom>
              <a:avLst/>
              <a:gdLst>
                <a:gd name="T0" fmla="*/ 535 w 3625"/>
                <a:gd name="T1" fmla="*/ 4303 h 4860"/>
                <a:gd name="T2" fmla="*/ 459 w 3625"/>
                <a:gd name="T3" fmla="*/ 4139 h 4860"/>
                <a:gd name="T4" fmla="*/ 435 w 3625"/>
                <a:gd name="T5" fmla="*/ 3604 h 4860"/>
                <a:gd name="T6" fmla="*/ 718 w 3625"/>
                <a:gd name="T7" fmla="*/ 3134 h 4860"/>
                <a:gd name="T8" fmla="*/ 3624 w 3625"/>
                <a:gd name="T9" fmla="*/ 518 h 4860"/>
                <a:gd name="T10" fmla="*/ 3624 w 3625"/>
                <a:gd name="T11" fmla="*/ 0 h 4860"/>
                <a:gd name="T12" fmla="*/ 461 w 3625"/>
                <a:gd name="T13" fmla="*/ 2848 h 4860"/>
                <a:gd name="T14" fmla="*/ 148 w 3625"/>
                <a:gd name="T15" fmla="*/ 3271 h 4860"/>
                <a:gd name="T16" fmla="*/ 36 w 3625"/>
                <a:gd name="T17" fmla="*/ 4016 h 4860"/>
                <a:gd name="T18" fmla="*/ 363 w 3625"/>
                <a:gd name="T19" fmla="*/ 4717 h 4860"/>
                <a:gd name="T20" fmla="*/ 363 w 3625"/>
                <a:gd name="T21" fmla="*/ 4717 h 4860"/>
                <a:gd name="T22" fmla="*/ 493 w 3625"/>
                <a:gd name="T23" fmla="*/ 4860 h 4860"/>
                <a:gd name="T24" fmla="*/ 3625 w 3625"/>
                <a:gd name="T25" fmla="*/ 2040 h 4860"/>
                <a:gd name="T26" fmla="*/ 3625 w 3625"/>
                <a:gd name="T27" fmla="*/ 1522 h 4860"/>
                <a:gd name="T28" fmla="*/ 535 w 3625"/>
                <a:gd name="T29" fmla="*/ 4303 h 4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25" h="4860">
                  <a:moveTo>
                    <a:pt x="535" y="4303"/>
                  </a:moveTo>
                  <a:cubicBezTo>
                    <a:pt x="505" y="4250"/>
                    <a:pt x="479" y="4195"/>
                    <a:pt x="459" y="4139"/>
                  </a:cubicBezTo>
                  <a:cubicBezTo>
                    <a:pt x="399" y="3966"/>
                    <a:pt x="392" y="3780"/>
                    <a:pt x="435" y="3604"/>
                  </a:cubicBezTo>
                  <a:cubicBezTo>
                    <a:pt x="479" y="3428"/>
                    <a:pt x="573" y="3264"/>
                    <a:pt x="718" y="3134"/>
                  </a:cubicBezTo>
                  <a:cubicBezTo>
                    <a:pt x="3624" y="518"/>
                    <a:pt x="3624" y="518"/>
                    <a:pt x="3624" y="518"/>
                  </a:cubicBezTo>
                  <a:cubicBezTo>
                    <a:pt x="3624" y="0"/>
                    <a:pt x="3624" y="0"/>
                    <a:pt x="3624" y="0"/>
                  </a:cubicBezTo>
                  <a:cubicBezTo>
                    <a:pt x="461" y="2848"/>
                    <a:pt x="461" y="2848"/>
                    <a:pt x="461" y="2848"/>
                  </a:cubicBezTo>
                  <a:cubicBezTo>
                    <a:pt x="326" y="2970"/>
                    <a:pt x="220" y="3115"/>
                    <a:pt x="148" y="3271"/>
                  </a:cubicBezTo>
                  <a:cubicBezTo>
                    <a:pt x="38" y="3505"/>
                    <a:pt x="0" y="3764"/>
                    <a:pt x="36" y="4016"/>
                  </a:cubicBezTo>
                  <a:cubicBezTo>
                    <a:pt x="71" y="4268"/>
                    <a:pt x="180" y="4514"/>
                    <a:pt x="363" y="4717"/>
                  </a:cubicBezTo>
                  <a:cubicBezTo>
                    <a:pt x="363" y="4717"/>
                    <a:pt x="363" y="4717"/>
                    <a:pt x="363" y="4717"/>
                  </a:cubicBezTo>
                  <a:cubicBezTo>
                    <a:pt x="493" y="4860"/>
                    <a:pt x="493" y="4860"/>
                    <a:pt x="493" y="4860"/>
                  </a:cubicBezTo>
                  <a:cubicBezTo>
                    <a:pt x="3625" y="2040"/>
                    <a:pt x="3625" y="2040"/>
                    <a:pt x="3625" y="2040"/>
                  </a:cubicBezTo>
                  <a:cubicBezTo>
                    <a:pt x="3625" y="1522"/>
                    <a:pt x="3625" y="1522"/>
                    <a:pt x="3625" y="1522"/>
                  </a:cubicBezTo>
                  <a:lnTo>
                    <a:pt x="535" y="4303"/>
                  </a:lnTo>
                  <a:close/>
                </a:path>
              </a:pathLst>
            </a:custGeom>
            <a:solidFill>
              <a:srgbClr val="F370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ru-RU"/>
            </a:p>
          </p:txBody>
        </p:sp>
        <p:sp>
          <p:nvSpPr>
            <p:cNvPr id="7" name="Freeform 12">
              <a:extLst>
                <a:ext uri="{FF2B5EF4-FFF2-40B4-BE49-F238E27FC236}">
                  <a16:creationId xmlns:a16="http://schemas.microsoft.com/office/drawing/2014/main" id="{152F01E0-7A56-4799-9134-9499F29D8D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6681" y="705045"/>
              <a:ext cx="221980" cy="199689"/>
            </a:xfrm>
            <a:custGeom>
              <a:avLst/>
              <a:gdLst>
                <a:gd name="T0" fmla="*/ 0 w 478"/>
                <a:gd name="T1" fmla="*/ 430 h 430"/>
                <a:gd name="T2" fmla="*/ 140 w 478"/>
                <a:gd name="T3" fmla="*/ 430 h 430"/>
                <a:gd name="T4" fmla="*/ 478 w 478"/>
                <a:gd name="T5" fmla="*/ 125 h 430"/>
                <a:gd name="T6" fmla="*/ 478 w 478"/>
                <a:gd name="T7" fmla="*/ 0 h 430"/>
                <a:gd name="T8" fmla="*/ 0 w 478"/>
                <a:gd name="T9" fmla="*/ 43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8" h="430">
                  <a:moveTo>
                    <a:pt x="0" y="430"/>
                  </a:moveTo>
                  <a:lnTo>
                    <a:pt x="140" y="430"/>
                  </a:lnTo>
                  <a:lnTo>
                    <a:pt x="478" y="125"/>
                  </a:lnTo>
                  <a:lnTo>
                    <a:pt x="478" y="0"/>
                  </a:lnTo>
                  <a:lnTo>
                    <a:pt x="0" y="430"/>
                  </a:lnTo>
                  <a:close/>
                </a:path>
              </a:pathLst>
            </a:custGeom>
            <a:solidFill>
              <a:srgbClr val="F370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12348599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o 1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BB022504-FD7A-4972-9F4D-66E2331E6B65}"/>
              </a:ext>
            </a:extLst>
          </p:cNvPr>
          <p:cNvSpPr/>
          <p:nvPr userDrawn="1"/>
        </p:nvSpPr>
        <p:spPr bwMode="gray">
          <a:xfrm>
            <a:off x="0" y="0"/>
            <a:ext cx="3974038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spcBef>
                <a:spcPts val="0"/>
              </a:spcBef>
              <a:spcAft>
                <a:spcPts val="600"/>
              </a:spcAft>
            </a:pPr>
            <a:endParaRPr lang="ru-RU" dirty="0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5A1F0855-F439-4289-A4E8-7ECBEBD8AA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33768" y="271462"/>
            <a:ext cx="7407814" cy="923330"/>
          </a:xfrm>
          <a:prstGeom prst="rect">
            <a:avLst/>
          </a:prstGeom>
        </p:spPr>
        <p:txBody>
          <a:bodyPr wrap="square" lIns="0" tIns="0" rIns="396000" bIns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ru-RU" sz="3000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>
              <a:defRPr lang="en-US" sz="1800" smtClean="0"/>
            </a:lvl2pPr>
            <a:lvl3pPr>
              <a:defRPr lang="en-US" sz="18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r>
              <a:rPr lang="ru-RU" dirty="0"/>
              <a:t>Второй заголовок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7D387F2F-2329-4113-AE63-60B7CE9BC1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852" y="271463"/>
            <a:ext cx="3163891" cy="92333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3000"/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46" name="Slide Number">
            <a:extLst>
              <a:ext uri="{FF2B5EF4-FFF2-40B4-BE49-F238E27FC236}">
                <a16:creationId xmlns:a16="http://schemas.microsoft.com/office/drawing/2014/main" id="{9DD2F828-9251-44C9-A72F-77BA3D4FED70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black">
          <a:xfrm>
            <a:off x="10646376" y="6588000"/>
            <a:ext cx="1095624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60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600"/>
                </a:spcAft>
                <a:defRPr/>
              </a:pPr>
              <a:t>‹#›</a:t>
            </a:fld>
            <a:endParaRPr lang="ru-RU" sz="8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507B94F-E1D9-4751-8CB7-4591BA13DD63}"/>
              </a:ext>
            </a:extLst>
          </p:cNvPr>
          <p:cNvSpPr txBox="1">
            <a:spLocks/>
          </p:cNvSpPr>
          <p:nvPr userDrawn="1"/>
        </p:nvSpPr>
        <p:spPr>
          <a:xfrm>
            <a:off x="450850" y="6588000"/>
            <a:ext cx="28800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0"/>
              </a:spcBef>
            </a:pPr>
            <a:r>
              <a:rPr lang="en-US" b="1">
                <a:solidFill>
                  <a:schemeClr val="tx1"/>
                </a:solidFill>
              </a:rPr>
              <a:t>AXENIX </a:t>
            </a:r>
            <a:r>
              <a:rPr lang="ru-RU" dirty="0">
                <a:solidFill>
                  <a:schemeClr val="tx1"/>
                </a:solidFill>
              </a:rPr>
              <a:t>© ООО «АксТим»</a:t>
            </a:r>
          </a:p>
        </p:txBody>
      </p:sp>
    </p:spTree>
    <p:extLst>
      <p:ext uri="{BB962C8B-B14F-4D97-AF65-F5344CB8AC3E}">
        <p14:creationId xmlns:p14="http://schemas.microsoft.com/office/powerpoint/2010/main" val="29193254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666F4F8-5B10-44D7-9B4F-C935C0D48F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097280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1" name="Слайд think-cell" r:id="rId22" imgW="395" imgH="394" progId="TCLayout.ActiveDocument.1">
                  <p:embed/>
                </p:oleObj>
              </mc:Choice>
              <mc:Fallback>
                <p:oleObj name="Слайд think-cell" r:id="rId22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666F4F8-5B10-44D7-9B4F-C935C0D48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8" name="Slide Number Placeholder 5">
            <a:extLst>
              <a:ext uri="{FF2B5EF4-FFF2-40B4-BE49-F238E27FC236}">
                <a16:creationId xmlns:a16="http://schemas.microsoft.com/office/drawing/2014/main" id="{F27DDACA-A080-4531-A5DC-80AE2829B18E}"/>
              </a:ext>
            </a:extLst>
          </p:cNvPr>
          <p:cNvSpPr txBox="1">
            <a:spLocks/>
          </p:cNvSpPr>
          <p:nvPr userDrawn="1"/>
        </p:nvSpPr>
        <p:spPr>
          <a:xfrm>
            <a:off x="0" y="-92891"/>
            <a:ext cx="1069771" cy="61555"/>
          </a:xfrm>
          <a:prstGeom prst="rect">
            <a:avLst/>
          </a:prstGeom>
          <a:solidFill>
            <a:srgbClr val="F2F2F2"/>
          </a:solidFill>
        </p:spPr>
        <p:txBody>
          <a:bodyPr vert="horz" wrap="none" lIns="36000" tIns="0" rIns="36000" bIns="0" rtlCol="0" anchor="ctr" anchorCtr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sz="400" b="1" dirty="0">
                <a:solidFill>
                  <a:srgbClr val="363636"/>
                </a:solidFill>
              </a:rPr>
              <a:t>© 202</a:t>
            </a:r>
            <a:r>
              <a:rPr lang="en-US" sz="400" b="1" dirty="0">
                <a:solidFill>
                  <a:srgbClr val="363636"/>
                </a:solidFill>
              </a:rPr>
              <a:t>3</a:t>
            </a:r>
            <a:r>
              <a:rPr lang="ru-RU" sz="400" b="1" dirty="0">
                <a:solidFill>
                  <a:srgbClr val="363636"/>
                </a:solidFill>
              </a:rPr>
              <a:t> ООО «АксТим»</a:t>
            </a:r>
            <a:r>
              <a:rPr lang="en-US" sz="400" b="1" dirty="0">
                <a:solidFill>
                  <a:srgbClr val="363636"/>
                </a:solidFill>
              </a:rPr>
              <a:t> \ </a:t>
            </a:r>
            <a:r>
              <a:rPr lang="en-US" sz="400" dirty="0">
                <a:solidFill>
                  <a:srgbClr val="363636"/>
                </a:solidFill>
              </a:rPr>
              <a:t>230</a:t>
            </a:r>
            <a:r>
              <a:rPr lang="ru-RU" sz="400" dirty="0">
                <a:solidFill>
                  <a:srgbClr val="363636"/>
                </a:solidFill>
              </a:rPr>
              <a:t>9</a:t>
            </a:r>
            <a:r>
              <a:rPr lang="en-US" sz="400" dirty="0">
                <a:solidFill>
                  <a:srgbClr val="363636"/>
                </a:solidFill>
              </a:rPr>
              <a:t>1</a:t>
            </a:r>
            <a:r>
              <a:rPr lang="ru-RU" sz="400" dirty="0">
                <a:solidFill>
                  <a:srgbClr val="363636"/>
                </a:solidFill>
              </a:rPr>
              <a:t>9</a:t>
            </a:r>
            <a:r>
              <a:rPr lang="en-US" sz="400" dirty="0">
                <a:solidFill>
                  <a:srgbClr val="363636"/>
                </a:solidFill>
              </a:rPr>
              <a:t>.</a:t>
            </a:r>
            <a:r>
              <a:rPr lang="ru-RU" sz="400" dirty="0">
                <a:solidFill>
                  <a:srgbClr val="363636"/>
                </a:solidFill>
              </a:rPr>
              <a:t>1000</a:t>
            </a:r>
            <a:r>
              <a:rPr lang="en-US" sz="400" dirty="0">
                <a:solidFill>
                  <a:srgbClr val="363636"/>
                </a:solidFill>
              </a:rPr>
              <a:t> AK</a:t>
            </a:r>
            <a:endParaRPr lang="ru-RU" sz="400" dirty="0">
              <a:solidFill>
                <a:srgbClr val="363636"/>
              </a:solidFill>
            </a:endParaRPr>
          </a:p>
        </p:txBody>
      </p:sp>
      <p:sp>
        <p:nvSpPr>
          <p:cNvPr id="50" name="Text Placeholder 49">
            <a:extLst>
              <a:ext uri="{FF2B5EF4-FFF2-40B4-BE49-F238E27FC236}">
                <a16:creationId xmlns:a16="http://schemas.microsoft.com/office/drawing/2014/main" id="{1B215B41-4E90-4289-A639-0405086140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0850" y="1825625"/>
            <a:ext cx="11288602" cy="155427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0"/>
            <a:r>
              <a:rPr lang="en-US"/>
              <a:t>Second level</a:t>
            </a:r>
          </a:p>
          <a:p>
            <a:pPr lvl="0"/>
            <a:r>
              <a:rPr lang="en-US"/>
              <a:t>Third level</a:t>
            </a:r>
          </a:p>
          <a:p>
            <a:pPr lvl="0"/>
            <a:r>
              <a:rPr lang="en-US"/>
              <a:t>Fourth level</a:t>
            </a:r>
          </a:p>
          <a:p>
            <a:pPr lvl="0"/>
            <a:r>
              <a:rPr lang="en-US"/>
              <a:t>Fifth level</a:t>
            </a:r>
            <a:endParaRPr lang="ru-RU"/>
          </a:p>
        </p:txBody>
      </p:sp>
      <p:sp>
        <p:nvSpPr>
          <p:cNvPr id="62" name="Slide Number Placeholder 5">
            <a:extLst>
              <a:ext uri="{FF2B5EF4-FFF2-40B4-BE49-F238E27FC236}">
                <a16:creationId xmlns:a16="http://schemas.microsoft.com/office/drawing/2014/main" id="{0CF9E731-7C62-4AC2-BD3D-30BA26436EC3}"/>
              </a:ext>
            </a:extLst>
          </p:cNvPr>
          <p:cNvSpPr txBox="1">
            <a:spLocks/>
          </p:cNvSpPr>
          <p:nvPr userDrawn="1"/>
        </p:nvSpPr>
        <p:spPr>
          <a:xfrm>
            <a:off x="450850" y="6588000"/>
            <a:ext cx="28800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0"/>
              </a:spcBef>
            </a:pPr>
            <a:r>
              <a:rPr lang="en-US" b="1" dirty="0">
                <a:solidFill>
                  <a:schemeClr val="tx1"/>
                </a:solidFill>
              </a:rPr>
              <a:t>AXENIX </a:t>
            </a:r>
            <a:r>
              <a:rPr lang="ru-RU" dirty="0">
                <a:solidFill>
                  <a:schemeClr val="tx1"/>
                </a:solidFill>
              </a:rPr>
              <a:t>© ООО «АксТим»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6974AC7-DB6D-4644-82F1-AC24E561BDC4}"/>
              </a:ext>
            </a:extLst>
          </p:cNvPr>
          <p:cNvGrpSpPr/>
          <p:nvPr userDrawn="1"/>
        </p:nvGrpSpPr>
        <p:grpSpPr>
          <a:xfrm>
            <a:off x="11480085" y="271463"/>
            <a:ext cx="262653" cy="352106"/>
            <a:chOff x="693246" y="360000"/>
            <a:chExt cx="406344" cy="544734"/>
          </a:xfrm>
          <a:solidFill>
            <a:srgbClr val="F05626"/>
          </a:solidFill>
        </p:grpSpPr>
        <p:sp>
          <p:nvSpPr>
            <p:cNvPr id="11" name="Freeform 11">
              <a:extLst>
                <a:ext uri="{FF2B5EF4-FFF2-40B4-BE49-F238E27FC236}">
                  <a16:creationId xmlns:a16="http://schemas.microsoft.com/office/drawing/2014/main" id="{9548E189-523C-40B3-A214-9A20F489D1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3246" y="360000"/>
              <a:ext cx="406344" cy="544734"/>
            </a:xfrm>
            <a:custGeom>
              <a:avLst/>
              <a:gdLst>
                <a:gd name="T0" fmla="*/ 535 w 3625"/>
                <a:gd name="T1" fmla="*/ 4303 h 4860"/>
                <a:gd name="T2" fmla="*/ 459 w 3625"/>
                <a:gd name="T3" fmla="*/ 4139 h 4860"/>
                <a:gd name="T4" fmla="*/ 435 w 3625"/>
                <a:gd name="T5" fmla="*/ 3604 h 4860"/>
                <a:gd name="T6" fmla="*/ 718 w 3625"/>
                <a:gd name="T7" fmla="*/ 3134 h 4860"/>
                <a:gd name="T8" fmla="*/ 3624 w 3625"/>
                <a:gd name="T9" fmla="*/ 518 h 4860"/>
                <a:gd name="T10" fmla="*/ 3624 w 3625"/>
                <a:gd name="T11" fmla="*/ 0 h 4860"/>
                <a:gd name="T12" fmla="*/ 461 w 3625"/>
                <a:gd name="T13" fmla="*/ 2848 h 4860"/>
                <a:gd name="T14" fmla="*/ 148 w 3625"/>
                <a:gd name="T15" fmla="*/ 3271 h 4860"/>
                <a:gd name="T16" fmla="*/ 36 w 3625"/>
                <a:gd name="T17" fmla="*/ 4016 h 4860"/>
                <a:gd name="T18" fmla="*/ 363 w 3625"/>
                <a:gd name="T19" fmla="*/ 4717 h 4860"/>
                <a:gd name="T20" fmla="*/ 363 w 3625"/>
                <a:gd name="T21" fmla="*/ 4717 h 4860"/>
                <a:gd name="T22" fmla="*/ 493 w 3625"/>
                <a:gd name="T23" fmla="*/ 4860 h 4860"/>
                <a:gd name="T24" fmla="*/ 3625 w 3625"/>
                <a:gd name="T25" fmla="*/ 2040 h 4860"/>
                <a:gd name="T26" fmla="*/ 3625 w 3625"/>
                <a:gd name="T27" fmla="*/ 1522 h 4860"/>
                <a:gd name="T28" fmla="*/ 535 w 3625"/>
                <a:gd name="T29" fmla="*/ 4303 h 4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25" h="4860">
                  <a:moveTo>
                    <a:pt x="535" y="4303"/>
                  </a:moveTo>
                  <a:cubicBezTo>
                    <a:pt x="505" y="4250"/>
                    <a:pt x="479" y="4195"/>
                    <a:pt x="459" y="4139"/>
                  </a:cubicBezTo>
                  <a:cubicBezTo>
                    <a:pt x="399" y="3966"/>
                    <a:pt x="392" y="3780"/>
                    <a:pt x="435" y="3604"/>
                  </a:cubicBezTo>
                  <a:cubicBezTo>
                    <a:pt x="479" y="3428"/>
                    <a:pt x="573" y="3264"/>
                    <a:pt x="718" y="3134"/>
                  </a:cubicBezTo>
                  <a:cubicBezTo>
                    <a:pt x="3624" y="518"/>
                    <a:pt x="3624" y="518"/>
                    <a:pt x="3624" y="518"/>
                  </a:cubicBezTo>
                  <a:cubicBezTo>
                    <a:pt x="3624" y="0"/>
                    <a:pt x="3624" y="0"/>
                    <a:pt x="3624" y="0"/>
                  </a:cubicBezTo>
                  <a:cubicBezTo>
                    <a:pt x="461" y="2848"/>
                    <a:pt x="461" y="2848"/>
                    <a:pt x="461" y="2848"/>
                  </a:cubicBezTo>
                  <a:cubicBezTo>
                    <a:pt x="326" y="2970"/>
                    <a:pt x="220" y="3115"/>
                    <a:pt x="148" y="3271"/>
                  </a:cubicBezTo>
                  <a:cubicBezTo>
                    <a:pt x="38" y="3505"/>
                    <a:pt x="0" y="3764"/>
                    <a:pt x="36" y="4016"/>
                  </a:cubicBezTo>
                  <a:cubicBezTo>
                    <a:pt x="71" y="4268"/>
                    <a:pt x="180" y="4514"/>
                    <a:pt x="363" y="4717"/>
                  </a:cubicBezTo>
                  <a:cubicBezTo>
                    <a:pt x="363" y="4717"/>
                    <a:pt x="363" y="4717"/>
                    <a:pt x="363" y="4717"/>
                  </a:cubicBezTo>
                  <a:cubicBezTo>
                    <a:pt x="493" y="4860"/>
                    <a:pt x="493" y="4860"/>
                    <a:pt x="493" y="4860"/>
                  </a:cubicBezTo>
                  <a:cubicBezTo>
                    <a:pt x="3625" y="2040"/>
                    <a:pt x="3625" y="2040"/>
                    <a:pt x="3625" y="2040"/>
                  </a:cubicBezTo>
                  <a:cubicBezTo>
                    <a:pt x="3625" y="1522"/>
                    <a:pt x="3625" y="1522"/>
                    <a:pt x="3625" y="1522"/>
                  </a:cubicBezTo>
                  <a:lnTo>
                    <a:pt x="535" y="4303"/>
                  </a:lnTo>
                  <a:close/>
                </a:path>
              </a:pathLst>
            </a:custGeom>
            <a:solidFill>
              <a:srgbClr val="F370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ru-RU"/>
            </a:p>
          </p:txBody>
        </p:sp>
        <p:sp>
          <p:nvSpPr>
            <p:cNvPr id="12" name="Freeform 12">
              <a:extLst>
                <a:ext uri="{FF2B5EF4-FFF2-40B4-BE49-F238E27FC236}">
                  <a16:creationId xmlns:a16="http://schemas.microsoft.com/office/drawing/2014/main" id="{2FC9B414-D45F-4E02-A022-604B9E5493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6681" y="705045"/>
              <a:ext cx="221980" cy="199689"/>
            </a:xfrm>
            <a:custGeom>
              <a:avLst/>
              <a:gdLst>
                <a:gd name="T0" fmla="*/ 0 w 478"/>
                <a:gd name="T1" fmla="*/ 430 h 430"/>
                <a:gd name="T2" fmla="*/ 140 w 478"/>
                <a:gd name="T3" fmla="*/ 430 h 430"/>
                <a:gd name="T4" fmla="*/ 478 w 478"/>
                <a:gd name="T5" fmla="*/ 125 h 430"/>
                <a:gd name="T6" fmla="*/ 478 w 478"/>
                <a:gd name="T7" fmla="*/ 0 h 430"/>
                <a:gd name="T8" fmla="*/ 0 w 478"/>
                <a:gd name="T9" fmla="*/ 43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8" h="430">
                  <a:moveTo>
                    <a:pt x="0" y="430"/>
                  </a:moveTo>
                  <a:lnTo>
                    <a:pt x="140" y="430"/>
                  </a:lnTo>
                  <a:lnTo>
                    <a:pt x="478" y="125"/>
                  </a:lnTo>
                  <a:lnTo>
                    <a:pt x="478" y="0"/>
                  </a:lnTo>
                  <a:lnTo>
                    <a:pt x="0" y="430"/>
                  </a:lnTo>
                  <a:close/>
                </a:path>
              </a:pathLst>
            </a:custGeom>
            <a:solidFill>
              <a:srgbClr val="F370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10078221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16" r:id="rId2"/>
    <p:sldLayoutId id="2147483727" r:id="rId3"/>
    <p:sldLayoutId id="2147483730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33" r:id="rId10"/>
    <p:sldLayoutId id="2147483722" r:id="rId11"/>
    <p:sldLayoutId id="2147483723" r:id="rId12"/>
    <p:sldLayoutId id="2147483725" r:id="rId13"/>
    <p:sldLayoutId id="2147483726" r:id="rId14"/>
    <p:sldLayoutId id="2147483731" r:id="rId15"/>
    <p:sldLayoutId id="2147483732" r:id="rId16"/>
    <p:sldLayoutId id="2147483728" r:id="rId17"/>
    <p:sldLayoutId id="2147483734" r:id="rId1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1">
          <p15:clr>
            <a:srgbClr val="F26B43"/>
          </p15:clr>
        </p15:guide>
        <p15:guide id="2" pos="284">
          <p15:clr>
            <a:srgbClr val="F26B43"/>
          </p15:clr>
        </p15:guide>
        <p15:guide id="3" orient="horz" pos="906">
          <p15:clr>
            <a:srgbClr val="FBAE40"/>
          </p15:clr>
        </p15:guide>
        <p15:guide id="4" orient="horz" pos="4094">
          <p15:clr>
            <a:srgbClr val="F26B43"/>
          </p15:clr>
        </p15:guide>
        <p15:guide id="5" pos="7397">
          <p15:clr>
            <a:srgbClr val="F26B43"/>
          </p15:clr>
        </p15:guide>
        <p15:guide id="6" orient="horz" pos="567">
          <p15:clr>
            <a:srgbClr val="F26B43"/>
          </p15:clr>
        </p15:guide>
        <p15:guide id="7" orient="horz" pos="3981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7.xml"/><Relationship Id="rId4" Type="http://schemas.openxmlformats.org/officeDocument/2006/relationships/image" Target="../media/image5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2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21.xml"/><Relationship Id="rId4" Type="http://schemas.openxmlformats.org/officeDocument/2006/relationships/hyperlink" Target="https://disk.yandex.ru/d/QrejENvzWlms8A" TargetMode="Externa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hyperlink" Target="https://t.me/ekaterina_axenix" TargetMode="External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24546C9-5255-4C7F-8D7F-FFE2D4F78A89}"/>
              </a:ext>
            </a:extLst>
          </p:cNvPr>
          <p:cNvSpPr txBox="1">
            <a:spLocks/>
          </p:cNvSpPr>
          <p:nvPr/>
        </p:nvSpPr>
        <p:spPr>
          <a:xfrm>
            <a:off x="580060" y="1201751"/>
            <a:ext cx="2441436" cy="1530627"/>
          </a:xfrm>
          <a:prstGeom prst="rect">
            <a:avLst/>
          </a:prstGeom>
          <a:effectLst/>
        </p:spPr>
        <p:txBody>
          <a:bodyPr wrap="square" lIns="0" tIns="0" rIns="0" bIns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sz="4500" kern="120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>
                <a:latin typeface="Montserrat Black" panose="00000A00000000000000" pitchFamily="2" charset="-52"/>
              </a:rPr>
              <a:t>Кейс</a:t>
            </a:r>
          </a:p>
          <a:p>
            <a:r>
              <a:rPr lang="en-US" dirty="0">
                <a:latin typeface="Montserrat Black" panose="00000A00000000000000" pitchFamily="2" charset="-52"/>
              </a:rPr>
              <a:t>Axenix</a:t>
            </a:r>
            <a:r>
              <a:rPr lang="ru-RU" dirty="0">
                <a:latin typeface="Montserrat Black" panose="00000A00000000000000" pitchFamily="2" charset="-52"/>
              </a:rPr>
              <a:t>: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>
                <a:latin typeface="Montserrat" pitchFamily="2" charset="-52"/>
              </a:rPr>
              <a:t>Апрель 2024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6E81526F-87CC-48A0-82BB-479BD96A6308}"/>
              </a:ext>
            </a:extLst>
          </p:cNvPr>
          <p:cNvSpPr txBox="1">
            <a:spLocks/>
          </p:cNvSpPr>
          <p:nvPr/>
        </p:nvSpPr>
        <p:spPr>
          <a:xfrm>
            <a:off x="450851" y="2751373"/>
            <a:ext cx="9935540" cy="2359770"/>
          </a:xfrm>
          <a:prstGeom prst="rect">
            <a:avLst/>
          </a:prstGeom>
          <a:effectLst/>
        </p:spPr>
        <p:txBody>
          <a:bodyPr wrap="square" lIns="0" tIns="0" rIns="0" bIns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sz="4500" kern="120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ru-RU" sz="4800" dirty="0">
                <a:latin typeface="Montserrat" pitchFamily="2" charset="-52"/>
                <a:ea typeface="Tahom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С</a:t>
            </a:r>
            <a:r>
              <a:rPr lang="ru-RU" sz="4800" dirty="0">
                <a:solidFill>
                  <a:schemeClr val="bg1"/>
                </a:solidFill>
                <a:latin typeface="Montserrat" pitchFamily="2" charset="-52"/>
                <a:ea typeface="Tahom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истема оптимизации логистики и управления запасами </a:t>
            </a:r>
            <a:endParaRPr lang="ru-RU" dirty="0">
              <a:latin typeface="Montserrat Black" panose="00000A00000000000000" pitchFamily="2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2052136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Группа 24"/>
          <p:cNvGrpSpPr/>
          <p:nvPr/>
        </p:nvGrpSpPr>
        <p:grpSpPr>
          <a:xfrm>
            <a:off x="6029572" y="1203449"/>
            <a:ext cx="10086093" cy="5336480"/>
            <a:chOff x="3634596" y="2223738"/>
            <a:chExt cx="7310032" cy="4043005"/>
          </a:xfrm>
        </p:grpSpPr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33EF501B-BA9F-0BB2-F984-40F589F3E4C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5466"/>
            <a:stretch/>
          </p:blipFill>
          <p:spPr>
            <a:xfrm>
              <a:off x="3634596" y="2223738"/>
              <a:ext cx="7310032" cy="4043005"/>
            </a:xfrm>
            <a:prstGeom prst="rect">
              <a:avLst/>
            </a:prstGeom>
          </p:spPr>
        </p:pic>
        <p:sp>
          <p:nvSpPr>
            <p:cNvPr id="65" name="AutoShape 12" descr="Аромамаркетинг: профессиональная ароматизация бизнеса в России от экспертов.">
              <a:extLst>
                <a:ext uri="{FF2B5EF4-FFF2-40B4-BE49-F238E27FC236}">
                  <a16:creationId xmlns:a16="http://schemas.microsoft.com/office/drawing/2014/main" id="{D6DE0AA0-39B9-F578-3F0E-0CE235E8BF60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6121994" y="2499671"/>
              <a:ext cx="304800" cy="3048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-52"/>
                <a:ea typeface="+mn-ea"/>
                <a:cs typeface="+mn-cs"/>
              </a:endParaRPr>
            </a:p>
          </p:txBody>
        </p:sp>
        <p:sp>
          <p:nvSpPr>
            <p:cNvPr id="68" name="AutoShape 15" descr="Gazprombank (Газпромбанк) Logo Color Codes">
              <a:extLst>
                <a:ext uri="{FF2B5EF4-FFF2-40B4-BE49-F238E27FC236}">
                  <a16:creationId xmlns:a16="http://schemas.microsoft.com/office/drawing/2014/main" id="{57E1B4D6-E2E7-69AA-6085-95CA279669C9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6274394" y="2652071"/>
              <a:ext cx="304800" cy="3048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0" name="AutoShape 19" descr="VTB online launches card-to-card transfer service in over 100 countries">
              <a:extLst>
                <a:ext uri="{FF2B5EF4-FFF2-40B4-BE49-F238E27FC236}">
                  <a16:creationId xmlns:a16="http://schemas.microsoft.com/office/drawing/2014/main" id="{C7942DB0-B749-3845-946E-2CA7674E7B96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6426794" y="2804471"/>
              <a:ext cx="304800" cy="3048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9" name="Прямоугольник 58"/>
          <p:cNvSpPr/>
          <p:nvPr/>
        </p:nvSpPr>
        <p:spPr>
          <a:xfrm>
            <a:off x="0" y="6021615"/>
            <a:ext cx="12192000" cy="836386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tlCol="0" anchor="ctr">
            <a:noAutofit/>
          </a:bodyPr>
          <a:lstStyle/>
          <a:p>
            <a:pPr algn="ctr"/>
            <a:endParaRPr lang="ru-RU" b="1" kern="0" dirty="0">
              <a:solidFill>
                <a:prstClr val="white"/>
              </a:solidFill>
            </a:endParaRPr>
          </a:p>
        </p:txBody>
      </p:sp>
      <p:sp>
        <p:nvSpPr>
          <p:cNvPr id="26" name="Slide Number Placeholder 1">
            <a:extLst>
              <a:ext uri="{FF2B5EF4-FFF2-40B4-BE49-F238E27FC236}">
                <a16:creationId xmlns:a16="http://schemas.microsoft.com/office/drawing/2014/main" id="{FC616AE4-DCD9-D67E-86F6-49DE2F9D863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072619" y="6614967"/>
            <a:ext cx="770951" cy="192287"/>
          </a:xfrm>
          <a:noFill/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 </a:t>
            </a:r>
          </a:p>
        </p:txBody>
      </p:sp>
      <p:sp>
        <p:nvSpPr>
          <p:cNvPr id="58" name="Title 4">
            <a:extLst>
              <a:ext uri="{FF2B5EF4-FFF2-40B4-BE49-F238E27FC236}">
                <a16:creationId xmlns:a16="http://schemas.microsoft.com/office/drawing/2014/main" id="{312975BF-C413-4F9F-B866-DCC758FE7D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780" y="300038"/>
            <a:ext cx="11290300" cy="461665"/>
          </a:xfrm>
        </p:spPr>
        <p:txBody>
          <a:bodyPr>
            <a:noAutofit/>
          </a:bodyPr>
          <a:lstStyle/>
          <a:p>
            <a:r>
              <a:rPr lang="ru-RU" sz="3000" dirty="0">
                <a:latin typeface="Montserrat ExtraBold" panose="00000900000000000000" pitchFamily="2" charset="-52"/>
              </a:rPr>
              <a:t>О кейсе</a:t>
            </a:r>
          </a:p>
        </p:txBody>
      </p:sp>
      <p:sp>
        <p:nvSpPr>
          <p:cNvPr id="66" name="Slide Number Placeholder 5">
            <a:extLst>
              <a:ext uri="{FF2B5EF4-FFF2-40B4-BE49-F238E27FC236}">
                <a16:creationId xmlns:a16="http://schemas.microsoft.com/office/drawing/2014/main" id="{87E13320-0E63-462B-AA58-B6E2D00C2636}"/>
              </a:ext>
            </a:extLst>
          </p:cNvPr>
          <p:cNvSpPr txBox="1">
            <a:spLocks/>
          </p:cNvSpPr>
          <p:nvPr/>
        </p:nvSpPr>
        <p:spPr>
          <a:xfrm>
            <a:off x="450850" y="6588000"/>
            <a:ext cx="28800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0"/>
              </a:spcBef>
            </a:pPr>
            <a:r>
              <a:rPr lang="en-US" b="1" dirty="0">
                <a:solidFill>
                  <a:schemeClr val="tx1"/>
                </a:solidFill>
                <a:latin typeface="Montserrat" panose="00000500000000000000" pitchFamily="2" charset="-52"/>
              </a:rPr>
              <a:t>AXENIX </a:t>
            </a:r>
            <a:r>
              <a:rPr lang="ru-RU" dirty="0">
                <a:solidFill>
                  <a:schemeClr val="tx1"/>
                </a:solidFill>
                <a:latin typeface="Montserrat" panose="00000500000000000000" pitchFamily="2" charset="-52"/>
              </a:rPr>
              <a:t>© ООО «АксТим»</a:t>
            </a:r>
          </a:p>
        </p:txBody>
      </p:sp>
      <p:grpSp>
        <p:nvGrpSpPr>
          <p:cNvPr id="72" name="Группа 71"/>
          <p:cNvGrpSpPr/>
          <p:nvPr/>
        </p:nvGrpSpPr>
        <p:grpSpPr>
          <a:xfrm>
            <a:off x="335780" y="1152939"/>
            <a:ext cx="6502342" cy="4772533"/>
            <a:chOff x="8078969" y="2167299"/>
            <a:chExt cx="3663031" cy="4071576"/>
          </a:xfrm>
        </p:grpSpPr>
        <p:sp>
          <p:nvSpPr>
            <p:cNvPr id="74" name="Скругленный прямоугольник 73"/>
            <p:cNvSpPr/>
            <p:nvPr/>
          </p:nvSpPr>
          <p:spPr>
            <a:xfrm>
              <a:off x="8078969" y="2167299"/>
              <a:ext cx="3663031" cy="4071576"/>
            </a:xfrm>
            <a:prstGeom prst="roundRect">
              <a:avLst>
                <a:gd name="adj" fmla="val 4706"/>
              </a:avLst>
            </a:prstGeom>
            <a:solidFill>
              <a:schemeClr val="bg1"/>
            </a:solidFill>
            <a:ln w="12700" cap="flat" cmpd="sng" algn="ctr">
              <a:solidFill>
                <a:srgbClr val="F37022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tlCol="0" anchor="ctr">
              <a:noAutofit/>
            </a:bodyPr>
            <a:lstStyle/>
            <a:p>
              <a:pPr algn="ctr"/>
              <a:endParaRPr lang="ru-RU" b="1" kern="0" dirty="0">
                <a:solidFill>
                  <a:prstClr val="white"/>
                </a:solidFill>
              </a:endParaRPr>
            </a:p>
          </p:txBody>
        </p:sp>
        <p:sp>
          <p:nvSpPr>
            <p:cNvPr id="107" name="Title 1">
              <a:extLst>
                <a:ext uri="{FF2B5EF4-FFF2-40B4-BE49-F238E27FC236}">
                  <a16:creationId xmlns:a16="http://schemas.microsoft.com/office/drawing/2014/main" id="{FED2B50B-940C-4780-9E7F-51AB3F575A98}"/>
                </a:ext>
              </a:extLst>
            </p:cNvPr>
            <p:cNvSpPr txBox="1">
              <a:spLocks/>
            </p:cNvSpPr>
            <p:nvPr/>
          </p:nvSpPr>
          <p:spPr>
            <a:xfrm>
              <a:off x="8254493" y="2224767"/>
              <a:ext cx="3383100" cy="2953904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ru-RU" sz="1400" dirty="0">
                  <a:latin typeface="Montserrat" pitchFamily="2" charset="-52"/>
                  <a:cs typeface="Arial" panose="020B0604020202020204" pitchFamily="34" charset="0"/>
                </a:rPr>
                <a:t>Небольшое предприятие, специализируется на продаже органических продуктов: овощи, фрукты, натуральные соки и т.д. Они расширяют свой бизнес и столкнулись с проблемой оптимизации логистических процессов. </a:t>
              </a:r>
            </a:p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ru-RU" sz="1400" dirty="0">
                  <a:latin typeface="Montserrat" pitchFamily="2" charset="-52"/>
                  <a:cs typeface="Arial" panose="020B0604020202020204" pitchFamily="34" charset="0"/>
                </a:rPr>
                <a:t>Компания должна обеспечивать своевременную доставку свежих продуктов на точки продажи, минимизируя потери продукции из-за порчи. Также предприятию важно эффективно управлять запасами, чтобы предотвратить дефицит или избыток продукции на складе.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F47920"/>
                </a:solidFill>
                <a:effectLst/>
                <a:uLnTx/>
                <a:uFillTx/>
                <a:latin typeface="Montserrat" pitchFamily="2" charset="-52"/>
                <a:ea typeface="+mj-ea"/>
                <a:cs typeface="Arial" panose="020B0604020202020204" pitchFamily="34" charset="0"/>
              </a:endParaRPr>
            </a:p>
          </p:txBody>
        </p:sp>
        <p:sp>
          <p:nvSpPr>
            <p:cNvPr id="118" name="Title 1">
              <a:extLst>
                <a:ext uri="{FF2B5EF4-FFF2-40B4-BE49-F238E27FC236}">
                  <a16:creationId xmlns:a16="http://schemas.microsoft.com/office/drawing/2014/main" id="{3A624259-DA9C-4310-B912-813859A198AA}"/>
                </a:ext>
              </a:extLst>
            </p:cNvPr>
            <p:cNvSpPr txBox="1">
              <a:spLocks/>
            </p:cNvSpPr>
            <p:nvPr/>
          </p:nvSpPr>
          <p:spPr>
            <a:xfrm>
              <a:off x="8247160" y="2340522"/>
              <a:ext cx="3444641" cy="345986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vert="horz" lIns="91440" tIns="45720" rIns="91440" bIns="45720" rtlCol="0" anchor="ctr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2400" b="1" dirty="0">
                  <a:solidFill>
                    <a:srgbClr val="FF7000"/>
                  </a:solidFill>
                  <a:latin typeface="Montserrat" pitchFamily="2" charset="-52"/>
                  <a:cs typeface="Arial" panose="020B0604020202020204" pitchFamily="34" charset="0"/>
                </a:rPr>
                <a:t>Проблематика:</a:t>
              </a: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7000"/>
                </a:solidFill>
                <a:effectLst/>
                <a:uLnTx/>
                <a:uFillTx/>
                <a:latin typeface="Montserrat" pitchFamily="2" charset="-52"/>
                <a:ea typeface="+mj-ea"/>
                <a:cs typeface="Arial" panose="020B0604020202020204" pitchFamily="34" charset="0"/>
              </a:endParaRPr>
            </a:p>
          </p:txBody>
        </p:sp>
      </p:grpSp>
      <p:sp>
        <p:nvSpPr>
          <p:cNvPr id="119" name="Slide Number">
            <a:extLst>
              <a:ext uri="{FF2B5EF4-FFF2-40B4-BE49-F238E27FC236}">
                <a16:creationId xmlns:a16="http://schemas.microsoft.com/office/drawing/2014/main" id="{174725CE-94A6-4D0D-A484-80E515069A69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646376" y="6588000"/>
            <a:ext cx="1095624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tx1"/>
                </a:solidFill>
                <a:latin typeface="Montserrat" panose="00000500000000000000" pitchFamily="2" charset="-52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2</a:t>
            </a:fld>
            <a:endParaRPr lang="ru-RU" sz="800" b="0" dirty="0">
              <a:solidFill>
                <a:schemeClr val="tx1"/>
              </a:solidFill>
              <a:latin typeface="Montserrat" panose="00000500000000000000" pitchFamily="2" charset="-52"/>
              <a:ea typeface="+mn-ea"/>
              <a:cs typeface="Arial" panose="020B0604020202020204" pitchFamily="34" charset="0"/>
            </a:endParaRPr>
          </a:p>
        </p:txBody>
      </p:sp>
      <p:sp>
        <p:nvSpPr>
          <p:cNvPr id="56" name="Скругленный прямоугольник 1">
            <a:extLst>
              <a:ext uri="{FF2B5EF4-FFF2-40B4-BE49-F238E27FC236}">
                <a16:creationId xmlns:a16="http://schemas.microsoft.com/office/drawing/2014/main" id="{6BD30DEB-5861-42AD-A292-5B5CDDCC3ED1}"/>
              </a:ext>
            </a:extLst>
          </p:cNvPr>
          <p:cNvSpPr/>
          <p:nvPr/>
        </p:nvSpPr>
        <p:spPr>
          <a:xfrm>
            <a:off x="218661" y="4084983"/>
            <a:ext cx="6708913" cy="2406875"/>
          </a:xfrm>
          <a:prstGeom prst="roundRect">
            <a:avLst>
              <a:gd name="adj" fmla="val 50000"/>
            </a:avLst>
          </a:prstGeom>
          <a:solidFill>
            <a:srgbClr val="F37022"/>
          </a:solidFill>
          <a:ln w="12700" cap="flat" cmpd="sng" algn="ctr">
            <a:solidFill>
              <a:srgbClr val="F3702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>
            <a:noAutofit/>
          </a:bodyPr>
          <a:lstStyle/>
          <a:p>
            <a:pPr algn="ctr"/>
            <a:endParaRPr lang="ru-RU" b="1" kern="0" dirty="0">
              <a:solidFill>
                <a:prstClr val="white"/>
              </a:solidFill>
            </a:endParaRPr>
          </a:p>
        </p:txBody>
      </p:sp>
      <p:sp>
        <p:nvSpPr>
          <p:cNvPr id="57" name="Прямоугольник 56">
            <a:extLst>
              <a:ext uri="{FF2B5EF4-FFF2-40B4-BE49-F238E27FC236}">
                <a16:creationId xmlns:a16="http://schemas.microsoft.com/office/drawing/2014/main" id="{E91A6060-D3A4-4A01-AC1D-7F405466026A}"/>
              </a:ext>
            </a:extLst>
          </p:cNvPr>
          <p:cNvSpPr/>
          <p:nvPr/>
        </p:nvSpPr>
        <p:spPr>
          <a:xfrm>
            <a:off x="646282" y="4284299"/>
            <a:ext cx="6090515" cy="20082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300"/>
              </a:spcAft>
            </a:pPr>
            <a:r>
              <a:rPr lang="ru-RU" sz="2400" b="1" dirty="0">
                <a:solidFill>
                  <a:schemeClr val="bg1"/>
                </a:solidFill>
                <a:latin typeface="Montserrat" pitchFamily="2" charset="-52"/>
                <a:ea typeface="Tahom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Задача:</a:t>
            </a:r>
          </a:p>
          <a:p>
            <a:pPr>
              <a:spcAft>
                <a:spcPts val="300"/>
              </a:spcAft>
            </a:pPr>
            <a:r>
              <a:rPr lang="ru-RU" sz="1400" dirty="0">
                <a:solidFill>
                  <a:schemeClr val="bg1"/>
                </a:solidFill>
                <a:latin typeface="Montserrat" pitchFamily="2" charset="-52"/>
                <a:ea typeface="Tahom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Разработать систему для оптимизации логистики и управления запасами в компании, занимающейся продажей органических продуктов, включая создание индивидуальной базы данных, разработку алгоритмов для прогнозирования спроса и оптимизации маршрутов доставки, а также разработку интерактивных карт и интерфейсов для управления запасами.</a:t>
            </a:r>
            <a:endParaRPr lang="en-US" sz="1400" dirty="0">
              <a:solidFill>
                <a:schemeClr val="bg1"/>
              </a:solidFill>
              <a:latin typeface="Montserrat" pitchFamily="2" charset="-52"/>
              <a:ea typeface="Tahoma" panose="020B060403050404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2227907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Прямоугольник 58"/>
          <p:cNvSpPr/>
          <p:nvPr/>
        </p:nvSpPr>
        <p:spPr>
          <a:xfrm>
            <a:off x="0" y="6021615"/>
            <a:ext cx="12192000" cy="836386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tlCol="0" anchor="ctr">
            <a:noAutofit/>
          </a:bodyPr>
          <a:lstStyle/>
          <a:p>
            <a:pPr algn="ctr"/>
            <a:endParaRPr lang="ru-RU" b="1" kern="0" dirty="0">
              <a:solidFill>
                <a:prstClr val="white"/>
              </a:solidFill>
            </a:endParaRPr>
          </a:p>
        </p:txBody>
      </p:sp>
      <p:sp>
        <p:nvSpPr>
          <p:cNvPr id="26" name="Slide Number Placeholder 1">
            <a:extLst>
              <a:ext uri="{FF2B5EF4-FFF2-40B4-BE49-F238E27FC236}">
                <a16:creationId xmlns:a16="http://schemas.microsoft.com/office/drawing/2014/main" id="{FC616AE4-DCD9-D67E-86F6-49DE2F9D863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072619" y="6614967"/>
            <a:ext cx="770951" cy="192287"/>
          </a:xfrm>
          <a:noFill/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 </a:t>
            </a:r>
          </a:p>
        </p:txBody>
      </p:sp>
      <p:sp>
        <p:nvSpPr>
          <p:cNvPr id="66" name="Slide Number Placeholder 5">
            <a:extLst>
              <a:ext uri="{FF2B5EF4-FFF2-40B4-BE49-F238E27FC236}">
                <a16:creationId xmlns:a16="http://schemas.microsoft.com/office/drawing/2014/main" id="{87E13320-0E63-462B-AA58-B6E2D00C2636}"/>
              </a:ext>
            </a:extLst>
          </p:cNvPr>
          <p:cNvSpPr txBox="1">
            <a:spLocks/>
          </p:cNvSpPr>
          <p:nvPr/>
        </p:nvSpPr>
        <p:spPr>
          <a:xfrm>
            <a:off x="450850" y="6588000"/>
            <a:ext cx="28800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0"/>
              </a:spcBef>
            </a:pPr>
            <a:r>
              <a:rPr lang="en-US" b="1" dirty="0">
                <a:solidFill>
                  <a:schemeClr val="tx1"/>
                </a:solidFill>
                <a:latin typeface="Montserrat" panose="00000500000000000000" pitchFamily="2" charset="-52"/>
              </a:rPr>
              <a:t>AXENIX </a:t>
            </a:r>
            <a:r>
              <a:rPr lang="ru-RU" dirty="0">
                <a:solidFill>
                  <a:schemeClr val="tx1"/>
                </a:solidFill>
                <a:latin typeface="Montserrat" panose="00000500000000000000" pitchFamily="2" charset="-52"/>
              </a:rPr>
              <a:t>© ООО «АксТим»</a:t>
            </a:r>
          </a:p>
        </p:txBody>
      </p:sp>
      <p:grpSp>
        <p:nvGrpSpPr>
          <p:cNvPr id="72" name="Группа 71"/>
          <p:cNvGrpSpPr/>
          <p:nvPr/>
        </p:nvGrpSpPr>
        <p:grpSpPr>
          <a:xfrm>
            <a:off x="679004" y="1326002"/>
            <a:ext cx="10254480" cy="5108713"/>
            <a:chOff x="8078969" y="2167299"/>
            <a:chExt cx="3663031" cy="4071576"/>
          </a:xfrm>
        </p:grpSpPr>
        <p:sp>
          <p:nvSpPr>
            <p:cNvPr id="74" name="Скругленный прямоугольник 73"/>
            <p:cNvSpPr/>
            <p:nvPr/>
          </p:nvSpPr>
          <p:spPr>
            <a:xfrm>
              <a:off x="8078969" y="2167299"/>
              <a:ext cx="3663031" cy="4071576"/>
            </a:xfrm>
            <a:prstGeom prst="roundRect">
              <a:avLst>
                <a:gd name="adj" fmla="val 4706"/>
              </a:avLst>
            </a:prstGeom>
            <a:solidFill>
              <a:schemeClr val="bg1"/>
            </a:solidFill>
            <a:ln w="12700" cap="flat" cmpd="sng" algn="ctr">
              <a:solidFill>
                <a:srgbClr val="F37022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tlCol="0" anchor="ctr">
              <a:noAutofit/>
            </a:bodyPr>
            <a:lstStyle/>
            <a:p>
              <a:pPr algn="ctr"/>
              <a:endParaRPr lang="ru-RU" b="1" kern="0" dirty="0">
                <a:solidFill>
                  <a:prstClr val="white"/>
                </a:solidFill>
              </a:endParaRPr>
            </a:p>
          </p:txBody>
        </p:sp>
        <p:sp>
          <p:nvSpPr>
            <p:cNvPr id="107" name="Title 1">
              <a:extLst>
                <a:ext uri="{FF2B5EF4-FFF2-40B4-BE49-F238E27FC236}">
                  <a16:creationId xmlns:a16="http://schemas.microsoft.com/office/drawing/2014/main" id="{FED2B50B-940C-4780-9E7F-51AB3F575A98}"/>
                </a:ext>
              </a:extLst>
            </p:cNvPr>
            <p:cNvSpPr txBox="1">
              <a:spLocks/>
            </p:cNvSpPr>
            <p:nvPr/>
          </p:nvSpPr>
          <p:spPr>
            <a:xfrm>
              <a:off x="8247160" y="2686518"/>
              <a:ext cx="3383100" cy="2953904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ru-RU" sz="1800" dirty="0">
                  <a:latin typeface="Montserrat" pitchFamily="2" charset="-52"/>
                  <a:cs typeface="Arial" panose="020B0604020202020204" pitchFamily="34" charset="0"/>
                </a:rPr>
                <a:t>1. Разработать систему, которая будет определять оптимальные маршруты доставки до точек продажи, учитывая сроки годности, объем и вес продуктов, расстояние и прогнозируемое время в пути;</a:t>
              </a:r>
            </a:p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ru-RU" sz="1800" dirty="0">
                  <a:latin typeface="Montserrat" pitchFamily="2" charset="-52"/>
                  <a:cs typeface="Arial" panose="020B0604020202020204" pitchFamily="34" charset="0"/>
                </a:rPr>
                <a:t>2. Разработать механизм, который будет эффективно управлять запасами, предотвращая их избыток или недостаток. Система должна анализировать данные о скорости продаж, сроках годности продуктов и потребностях точек продажи;</a:t>
              </a:r>
            </a:p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ru-RU" sz="1800" dirty="0">
                  <a:latin typeface="Montserrat" pitchFamily="2" charset="-52"/>
                  <a:cs typeface="Arial" panose="020B0604020202020204" pitchFamily="34" charset="0"/>
                </a:rPr>
                <a:t>3. Создать алгоритм, который на основе исторических данных о продажах, сезонности и возможных трендах на рынке будет прогнозировать спрос на различные продукты.</a:t>
              </a:r>
              <a:endParaRPr lang="ru-RU" sz="1600" dirty="0">
                <a:latin typeface="Montserrat" pitchFamily="2" charset="-52"/>
                <a:cs typeface="Arial" panose="020B0604020202020204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F47920"/>
                </a:solidFill>
                <a:effectLst/>
                <a:uLnTx/>
                <a:uFillTx/>
                <a:latin typeface="Montserrat" pitchFamily="2" charset="-52"/>
                <a:ea typeface="+mj-ea"/>
                <a:cs typeface="Arial" panose="020B0604020202020204" pitchFamily="34" charset="0"/>
              </a:endParaRPr>
            </a:p>
          </p:txBody>
        </p:sp>
        <p:sp>
          <p:nvSpPr>
            <p:cNvPr id="118" name="Title 1">
              <a:extLst>
                <a:ext uri="{FF2B5EF4-FFF2-40B4-BE49-F238E27FC236}">
                  <a16:creationId xmlns:a16="http://schemas.microsoft.com/office/drawing/2014/main" id="{3A624259-DA9C-4310-B912-813859A198AA}"/>
                </a:ext>
              </a:extLst>
            </p:cNvPr>
            <p:cNvSpPr txBox="1">
              <a:spLocks/>
            </p:cNvSpPr>
            <p:nvPr/>
          </p:nvSpPr>
          <p:spPr>
            <a:xfrm>
              <a:off x="8247160" y="2340522"/>
              <a:ext cx="3444641" cy="345986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vert="horz" lIns="91440" tIns="45720" rIns="91440" bIns="45720" rtlCol="0" anchor="ctr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7000"/>
                </a:solidFill>
                <a:effectLst/>
                <a:uLnTx/>
                <a:uFillTx/>
                <a:latin typeface="Montserrat" pitchFamily="2" charset="-52"/>
                <a:ea typeface="+mj-ea"/>
                <a:cs typeface="Arial" panose="020B0604020202020204" pitchFamily="34" charset="0"/>
              </a:endParaRPr>
            </a:p>
          </p:txBody>
        </p:sp>
      </p:grpSp>
      <p:sp>
        <p:nvSpPr>
          <p:cNvPr id="119" name="Slide Number">
            <a:extLst>
              <a:ext uri="{FF2B5EF4-FFF2-40B4-BE49-F238E27FC236}">
                <a16:creationId xmlns:a16="http://schemas.microsoft.com/office/drawing/2014/main" id="{174725CE-94A6-4D0D-A484-80E515069A69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646376" y="6588000"/>
            <a:ext cx="1095624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tx1"/>
                </a:solidFill>
                <a:latin typeface="Montserrat" panose="00000500000000000000" pitchFamily="2" charset="-52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3</a:t>
            </a:fld>
            <a:endParaRPr lang="ru-RU" sz="800" b="0" dirty="0">
              <a:solidFill>
                <a:schemeClr val="tx1"/>
              </a:solidFill>
              <a:latin typeface="Montserrat" panose="00000500000000000000" pitchFamily="2" charset="-52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EF5273F-8CDF-4719-8E11-BBB4DD90C2F9}"/>
              </a:ext>
            </a:extLst>
          </p:cNvPr>
          <p:cNvSpPr txBox="1"/>
          <p:nvPr/>
        </p:nvSpPr>
        <p:spPr>
          <a:xfrm>
            <a:off x="299220" y="331514"/>
            <a:ext cx="11014049" cy="739824"/>
          </a:xfrm>
          <a:prstGeom prst="rect">
            <a:avLst/>
          </a:prstGeom>
          <a:solidFill>
            <a:srgbClr val="F4B183"/>
          </a:solidFill>
        </p:spPr>
        <p:txBody>
          <a:bodyPr wrap="none" lIns="72000" tIns="72000" rIns="72000" bIns="72000" rtlCol="0" anchor="t">
            <a:noAutofit/>
          </a:bodyPr>
          <a:lstStyle/>
          <a:p>
            <a:r>
              <a:rPr lang="ru-RU" sz="4000" b="1" dirty="0">
                <a:latin typeface="Montserrat" panose="00000500000000000000" pitchFamily="2" charset="-52"/>
              </a:rPr>
              <a:t>Задачи </a:t>
            </a:r>
            <a:r>
              <a:rPr lang="en-US" sz="4000" b="1" dirty="0">
                <a:latin typeface="Montserrat" panose="00000500000000000000" pitchFamily="2" charset="-52"/>
              </a:rPr>
              <a:t>Backend</a:t>
            </a:r>
            <a:r>
              <a:rPr lang="ru-RU" sz="4000" b="1" dirty="0">
                <a:latin typeface="Montserrat" panose="00000500000000000000" pitchFamily="2" charset="-52"/>
              </a:rPr>
              <a:t> </a:t>
            </a:r>
            <a:endParaRPr lang="ru-RU" sz="4000" dirty="0">
              <a:latin typeface="Montserrat" panose="00000500000000000000" pitchFamily="2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4066443229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Прямоугольник 58"/>
          <p:cNvSpPr/>
          <p:nvPr/>
        </p:nvSpPr>
        <p:spPr>
          <a:xfrm>
            <a:off x="0" y="6021615"/>
            <a:ext cx="12192000" cy="836386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tlCol="0" anchor="ctr">
            <a:noAutofit/>
          </a:bodyPr>
          <a:lstStyle/>
          <a:p>
            <a:pPr algn="ctr"/>
            <a:endParaRPr lang="ru-RU" b="1" kern="0" dirty="0">
              <a:solidFill>
                <a:prstClr val="white"/>
              </a:solidFill>
            </a:endParaRPr>
          </a:p>
        </p:txBody>
      </p:sp>
      <p:sp>
        <p:nvSpPr>
          <p:cNvPr id="26" name="Slide Number Placeholder 1">
            <a:extLst>
              <a:ext uri="{FF2B5EF4-FFF2-40B4-BE49-F238E27FC236}">
                <a16:creationId xmlns:a16="http://schemas.microsoft.com/office/drawing/2014/main" id="{FC616AE4-DCD9-D67E-86F6-49DE2F9D863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072619" y="6614967"/>
            <a:ext cx="770951" cy="192287"/>
          </a:xfrm>
          <a:noFill/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 </a:t>
            </a:r>
          </a:p>
        </p:txBody>
      </p:sp>
      <p:sp>
        <p:nvSpPr>
          <p:cNvPr id="66" name="Slide Number Placeholder 5">
            <a:extLst>
              <a:ext uri="{FF2B5EF4-FFF2-40B4-BE49-F238E27FC236}">
                <a16:creationId xmlns:a16="http://schemas.microsoft.com/office/drawing/2014/main" id="{87E13320-0E63-462B-AA58-B6E2D00C2636}"/>
              </a:ext>
            </a:extLst>
          </p:cNvPr>
          <p:cNvSpPr txBox="1">
            <a:spLocks/>
          </p:cNvSpPr>
          <p:nvPr/>
        </p:nvSpPr>
        <p:spPr>
          <a:xfrm>
            <a:off x="450850" y="6588000"/>
            <a:ext cx="28800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0"/>
              </a:spcBef>
            </a:pPr>
            <a:r>
              <a:rPr lang="en-US" b="1" dirty="0">
                <a:solidFill>
                  <a:schemeClr val="tx1"/>
                </a:solidFill>
                <a:latin typeface="Montserrat" panose="00000500000000000000" pitchFamily="2" charset="-52"/>
              </a:rPr>
              <a:t>AXENIX </a:t>
            </a:r>
            <a:r>
              <a:rPr lang="ru-RU" dirty="0">
                <a:solidFill>
                  <a:schemeClr val="tx1"/>
                </a:solidFill>
                <a:latin typeface="Montserrat" panose="00000500000000000000" pitchFamily="2" charset="-52"/>
              </a:rPr>
              <a:t>© ООО «АксТим»</a:t>
            </a:r>
          </a:p>
        </p:txBody>
      </p:sp>
      <p:grpSp>
        <p:nvGrpSpPr>
          <p:cNvPr id="72" name="Группа 71"/>
          <p:cNvGrpSpPr/>
          <p:nvPr/>
        </p:nvGrpSpPr>
        <p:grpSpPr>
          <a:xfrm>
            <a:off x="679004" y="1326002"/>
            <a:ext cx="10254480" cy="5108713"/>
            <a:chOff x="8078969" y="2167299"/>
            <a:chExt cx="3663031" cy="4071576"/>
          </a:xfrm>
        </p:grpSpPr>
        <p:sp>
          <p:nvSpPr>
            <p:cNvPr id="74" name="Скругленный прямоугольник 73"/>
            <p:cNvSpPr/>
            <p:nvPr/>
          </p:nvSpPr>
          <p:spPr>
            <a:xfrm>
              <a:off x="8078969" y="2167299"/>
              <a:ext cx="3663031" cy="4071576"/>
            </a:xfrm>
            <a:prstGeom prst="roundRect">
              <a:avLst>
                <a:gd name="adj" fmla="val 4706"/>
              </a:avLst>
            </a:prstGeom>
            <a:solidFill>
              <a:schemeClr val="bg1"/>
            </a:solidFill>
            <a:ln w="12700" cap="flat" cmpd="sng" algn="ctr">
              <a:solidFill>
                <a:srgbClr val="F37022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tlCol="0" anchor="ctr">
              <a:noAutofit/>
            </a:bodyPr>
            <a:lstStyle/>
            <a:p>
              <a:pPr algn="ctr"/>
              <a:endParaRPr lang="ru-RU" b="1" kern="0" dirty="0">
                <a:solidFill>
                  <a:prstClr val="white"/>
                </a:solidFill>
              </a:endParaRPr>
            </a:p>
          </p:txBody>
        </p:sp>
        <p:sp>
          <p:nvSpPr>
            <p:cNvPr id="107" name="Title 1">
              <a:extLst>
                <a:ext uri="{FF2B5EF4-FFF2-40B4-BE49-F238E27FC236}">
                  <a16:creationId xmlns:a16="http://schemas.microsoft.com/office/drawing/2014/main" id="{FED2B50B-940C-4780-9E7F-51AB3F575A98}"/>
                </a:ext>
              </a:extLst>
            </p:cNvPr>
            <p:cNvSpPr txBox="1">
              <a:spLocks/>
            </p:cNvSpPr>
            <p:nvPr/>
          </p:nvSpPr>
          <p:spPr>
            <a:xfrm>
              <a:off x="8218934" y="2955736"/>
              <a:ext cx="3383100" cy="2953904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ru-RU" sz="1800" b="1" dirty="0">
                  <a:latin typeface="Montserrat" pitchFamily="2" charset="-52"/>
                  <a:cs typeface="Arial" panose="020B0604020202020204" pitchFamily="34" charset="0"/>
                </a:rPr>
                <a:t>Интерактивная карта для маршрутизации:</a:t>
              </a:r>
            </a:p>
            <a:p>
              <a:pPr marL="342900" lvl="0" indent="-342900">
                <a:lnSpc>
                  <a:spcPct val="107000"/>
                </a:lnSpc>
                <a:buFont typeface="Symbol" panose="05050102010706020507" pitchFamily="18" charset="2"/>
                <a:buChar char=""/>
              </a:pPr>
              <a:r>
                <a:rPr lang="ru-RU" sz="1600" dirty="0">
                  <a:latin typeface="Montserrat" pitchFamily="2" charset="-52"/>
                  <a:cs typeface="Arial" panose="020B0604020202020204" pitchFamily="34" charset="0"/>
                </a:rPr>
                <a:t>Разработка карты с использованием JavaScript-библиотек, таких как Google Maps API или Яндекс Карты API, для визуализации точек продаж и складов.</a:t>
              </a:r>
            </a:p>
            <a:p>
              <a:pPr marL="342900" lvl="0" indent="-342900">
                <a:lnSpc>
                  <a:spcPct val="107000"/>
                </a:lnSpc>
                <a:buFont typeface="Symbol" panose="05050102010706020507" pitchFamily="18" charset="2"/>
                <a:buChar char=""/>
              </a:pPr>
              <a:r>
                <a:rPr lang="ru-RU" sz="1600" dirty="0">
                  <a:latin typeface="Montserrat" pitchFamily="2" charset="-52"/>
                  <a:cs typeface="Arial" panose="020B0604020202020204" pitchFamily="34" charset="0"/>
                </a:rPr>
                <a:t>Отображение оптимальных маршрутов доставки, созданных на основе алгоритмов маршрутизации, с возможностью их визуализации через линии или маркеры.</a:t>
              </a:r>
            </a:p>
            <a:p>
              <a:pPr marL="342900" lvl="0" indent="-342900">
                <a:lnSpc>
                  <a:spcPct val="107000"/>
                </a:lnSpc>
                <a:spcAft>
                  <a:spcPts val="800"/>
                </a:spcAft>
                <a:buFont typeface="Symbol" panose="05050102010706020507" pitchFamily="18" charset="2"/>
                <a:buChar char=""/>
              </a:pPr>
              <a:r>
                <a:rPr lang="ru-RU" sz="1600" dirty="0">
                  <a:latin typeface="Montserrat" pitchFamily="2" charset="-52"/>
                  <a:cs typeface="Arial" panose="020B0604020202020204" pitchFamily="34" charset="0"/>
                </a:rPr>
                <a:t>Реализация функции фильтрации маршрутов по различным параметрам, например, по длительности пути, типу товаров или приоритету заказа.</a:t>
              </a:r>
            </a:p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ru-RU" sz="1800" b="1" dirty="0">
                  <a:latin typeface="Montserrat" pitchFamily="2" charset="-52"/>
                  <a:cs typeface="Arial" panose="020B0604020202020204" pitchFamily="34" charset="0"/>
                </a:rPr>
                <a:t>Интерфейс управления запасами:</a:t>
              </a:r>
            </a:p>
            <a:p>
              <a:pPr marL="342900" lvl="0" indent="-342900">
                <a:lnSpc>
                  <a:spcPct val="107000"/>
                </a:lnSpc>
                <a:buFont typeface="Symbol" panose="05050102010706020507" pitchFamily="18" charset="2"/>
                <a:buChar char=""/>
              </a:pPr>
              <a:r>
                <a:rPr lang="ru-RU" sz="1600" dirty="0">
                  <a:latin typeface="Montserrat" pitchFamily="2" charset="-52"/>
                  <a:cs typeface="Arial" panose="020B0604020202020204" pitchFamily="34" charset="0"/>
                </a:rPr>
                <a:t>Создание </a:t>
              </a:r>
              <a:r>
                <a:rPr lang="en-US" sz="1600" dirty="0">
                  <a:latin typeface="Montserrat" pitchFamily="2" charset="-52"/>
                  <a:cs typeface="Arial" panose="020B0604020202020204" pitchFamily="34" charset="0"/>
                </a:rPr>
                <a:t>Dashboard</a:t>
              </a:r>
              <a:r>
                <a:rPr lang="ru-RU" sz="1600" dirty="0">
                  <a:latin typeface="Montserrat" pitchFamily="2" charset="-52"/>
                  <a:cs typeface="Arial" panose="020B0604020202020204" pitchFamily="34" charset="0"/>
                </a:rPr>
                <a:t> для визуального отображения текущего состояния запасов на складах и в точках продаж с использованием диаграмм и графиков.</a:t>
              </a:r>
            </a:p>
            <a:p>
              <a:pPr marL="342900" lvl="0" indent="-342900">
                <a:lnSpc>
                  <a:spcPct val="107000"/>
                </a:lnSpc>
                <a:buFont typeface="Symbol" panose="05050102010706020507" pitchFamily="18" charset="2"/>
                <a:buChar char=""/>
              </a:pPr>
              <a:r>
                <a:rPr lang="ru-RU" sz="1600" dirty="0">
                  <a:latin typeface="Montserrat" pitchFamily="2" charset="-52"/>
                  <a:cs typeface="Arial" panose="020B0604020202020204" pitchFamily="34" charset="0"/>
                </a:rPr>
                <a:t>Визуализация данных о продажах, позволяющая отслеживать динамику продаж и остатки товаров на складе.</a:t>
              </a:r>
            </a:p>
            <a:p>
              <a:pPr marL="342900" lvl="0" indent="-342900">
                <a:lnSpc>
                  <a:spcPct val="107000"/>
                </a:lnSpc>
                <a:spcAft>
                  <a:spcPts val="800"/>
                </a:spcAft>
                <a:buFont typeface="Symbol" panose="05050102010706020507" pitchFamily="18" charset="2"/>
                <a:buChar char=""/>
              </a:pPr>
              <a:r>
                <a:rPr lang="ru-RU" sz="1600" dirty="0">
                  <a:latin typeface="Montserrat" pitchFamily="2" charset="-52"/>
                  <a:cs typeface="Arial" panose="020B0604020202020204" pitchFamily="34" charset="0"/>
                </a:rPr>
                <a:t>Внедрение функционала для управления запасами, включая настройку оповещений о необходимости пополнения запасов или предупреждений об их избытке, с возможностью ручной коррекции уровней запасов.</a:t>
              </a:r>
            </a:p>
            <a:p>
              <a:pPr>
                <a:lnSpc>
                  <a:spcPct val="107000"/>
                </a:lnSpc>
                <a:spcAft>
                  <a:spcPts val="800"/>
                </a:spcAft>
              </a:pPr>
              <a:endParaRPr lang="ru-RU" sz="1800" dirty="0">
                <a:latin typeface="Montserrat" pitchFamily="2" charset="-52"/>
                <a:cs typeface="Arial" panose="020B0604020202020204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F47920"/>
                </a:solidFill>
                <a:effectLst/>
                <a:uLnTx/>
                <a:uFillTx/>
                <a:latin typeface="Montserrat" pitchFamily="2" charset="-52"/>
                <a:ea typeface="+mj-ea"/>
                <a:cs typeface="Arial" panose="020B0604020202020204" pitchFamily="34" charset="0"/>
              </a:endParaRPr>
            </a:p>
          </p:txBody>
        </p:sp>
      </p:grpSp>
      <p:sp>
        <p:nvSpPr>
          <p:cNvPr id="119" name="Slide Number">
            <a:extLst>
              <a:ext uri="{FF2B5EF4-FFF2-40B4-BE49-F238E27FC236}">
                <a16:creationId xmlns:a16="http://schemas.microsoft.com/office/drawing/2014/main" id="{174725CE-94A6-4D0D-A484-80E515069A69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646376" y="6588000"/>
            <a:ext cx="1095624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tx1"/>
                </a:solidFill>
                <a:latin typeface="Montserrat" panose="00000500000000000000" pitchFamily="2" charset="-52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4</a:t>
            </a:fld>
            <a:endParaRPr lang="ru-RU" sz="800" b="0" dirty="0">
              <a:solidFill>
                <a:schemeClr val="tx1"/>
              </a:solidFill>
              <a:latin typeface="Montserrat" panose="00000500000000000000" pitchFamily="2" charset="-52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EF5273F-8CDF-4719-8E11-BBB4DD90C2F9}"/>
              </a:ext>
            </a:extLst>
          </p:cNvPr>
          <p:cNvSpPr txBox="1"/>
          <p:nvPr/>
        </p:nvSpPr>
        <p:spPr>
          <a:xfrm>
            <a:off x="299220" y="331514"/>
            <a:ext cx="11014049" cy="739824"/>
          </a:xfrm>
          <a:prstGeom prst="rect">
            <a:avLst/>
          </a:prstGeom>
          <a:solidFill>
            <a:srgbClr val="9F6FCE"/>
          </a:solidFill>
        </p:spPr>
        <p:txBody>
          <a:bodyPr wrap="none" lIns="72000" tIns="72000" rIns="72000" bIns="72000" rtlCol="0" anchor="t">
            <a:noAutofit/>
          </a:bodyPr>
          <a:lstStyle/>
          <a:p>
            <a:r>
              <a:rPr lang="ru-RU" sz="4000" b="1" dirty="0">
                <a:latin typeface="Montserrat" panose="00000500000000000000" pitchFamily="2" charset="-52"/>
              </a:rPr>
              <a:t>Задачи</a:t>
            </a:r>
            <a:r>
              <a:rPr lang="en-US" sz="4000" b="1" dirty="0">
                <a:latin typeface="Montserrat" panose="00000500000000000000" pitchFamily="2" charset="-52"/>
              </a:rPr>
              <a:t> Frontend</a:t>
            </a:r>
            <a:r>
              <a:rPr lang="ru-RU" sz="4000" b="1" dirty="0">
                <a:latin typeface="Montserrat" panose="00000500000000000000" pitchFamily="2" charset="-52"/>
              </a:rPr>
              <a:t> </a:t>
            </a:r>
            <a:endParaRPr lang="ru-RU" sz="4000" dirty="0">
              <a:latin typeface="Montserrat" panose="00000500000000000000" pitchFamily="2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4007024527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Прямоугольник 58"/>
          <p:cNvSpPr/>
          <p:nvPr/>
        </p:nvSpPr>
        <p:spPr>
          <a:xfrm>
            <a:off x="0" y="6021615"/>
            <a:ext cx="12192000" cy="836386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tlCol="0" anchor="ctr">
            <a:noAutofit/>
          </a:bodyPr>
          <a:lstStyle/>
          <a:p>
            <a:pPr algn="ctr"/>
            <a:endParaRPr lang="ru-RU" b="1" kern="0" dirty="0">
              <a:solidFill>
                <a:prstClr val="white"/>
              </a:solidFill>
            </a:endParaRPr>
          </a:p>
        </p:txBody>
      </p:sp>
      <p:sp>
        <p:nvSpPr>
          <p:cNvPr id="26" name="Slide Number Placeholder 1">
            <a:extLst>
              <a:ext uri="{FF2B5EF4-FFF2-40B4-BE49-F238E27FC236}">
                <a16:creationId xmlns:a16="http://schemas.microsoft.com/office/drawing/2014/main" id="{FC616AE4-DCD9-D67E-86F6-49DE2F9D863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072619" y="6614967"/>
            <a:ext cx="770951" cy="192287"/>
          </a:xfrm>
          <a:noFill/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 </a:t>
            </a:r>
          </a:p>
        </p:txBody>
      </p:sp>
      <p:sp>
        <p:nvSpPr>
          <p:cNvPr id="66" name="Slide Number Placeholder 5">
            <a:extLst>
              <a:ext uri="{FF2B5EF4-FFF2-40B4-BE49-F238E27FC236}">
                <a16:creationId xmlns:a16="http://schemas.microsoft.com/office/drawing/2014/main" id="{87E13320-0E63-462B-AA58-B6E2D00C2636}"/>
              </a:ext>
            </a:extLst>
          </p:cNvPr>
          <p:cNvSpPr txBox="1">
            <a:spLocks/>
          </p:cNvSpPr>
          <p:nvPr/>
        </p:nvSpPr>
        <p:spPr>
          <a:xfrm>
            <a:off x="450850" y="6588000"/>
            <a:ext cx="28800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0"/>
              </a:spcBef>
            </a:pPr>
            <a:r>
              <a:rPr lang="en-US" b="1" dirty="0">
                <a:solidFill>
                  <a:schemeClr val="tx1"/>
                </a:solidFill>
                <a:latin typeface="Montserrat" panose="00000500000000000000" pitchFamily="2" charset="-52"/>
              </a:rPr>
              <a:t>AXENIX </a:t>
            </a:r>
            <a:r>
              <a:rPr lang="ru-RU" dirty="0">
                <a:solidFill>
                  <a:schemeClr val="tx1"/>
                </a:solidFill>
                <a:latin typeface="Montserrat" panose="00000500000000000000" pitchFamily="2" charset="-52"/>
              </a:rPr>
              <a:t>© ООО «АксТим»</a:t>
            </a:r>
          </a:p>
        </p:txBody>
      </p:sp>
      <p:grpSp>
        <p:nvGrpSpPr>
          <p:cNvPr id="72" name="Группа 71"/>
          <p:cNvGrpSpPr/>
          <p:nvPr/>
        </p:nvGrpSpPr>
        <p:grpSpPr>
          <a:xfrm>
            <a:off x="679004" y="1326002"/>
            <a:ext cx="10254480" cy="5288965"/>
            <a:chOff x="8078969" y="2167299"/>
            <a:chExt cx="3663031" cy="4071576"/>
          </a:xfrm>
        </p:grpSpPr>
        <p:sp>
          <p:nvSpPr>
            <p:cNvPr id="74" name="Скругленный прямоугольник 73"/>
            <p:cNvSpPr/>
            <p:nvPr/>
          </p:nvSpPr>
          <p:spPr>
            <a:xfrm>
              <a:off x="8078969" y="2167299"/>
              <a:ext cx="3663031" cy="4071576"/>
            </a:xfrm>
            <a:prstGeom prst="roundRect">
              <a:avLst>
                <a:gd name="adj" fmla="val 4706"/>
              </a:avLst>
            </a:prstGeom>
            <a:solidFill>
              <a:schemeClr val="bg1"/>
            </a:solidFill>
            <a:ln w="12700" cap="flat" cmpd="sng" algn="ctr">
              <a:solidFill>
                <a:srgbClr val="F37022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tlCol="0" anchor="ctr">
              <a:noAutofit/>
            </a:bodyPr>
            <a:lstStyle/>
            <a:p>
              <a:pPr algn="ctr"/>
              <a:endParaRPr lang="ru-RU" b="1" kern="0" dirty="0">
                <a:solidFill>
                  <a:prstClr val="white"/>
                </a:solidFill>
              </a:endParaRPr>
            </a:p>
          </p:txBody>
        </p:sp>
        <p:sp>
          <p:nvSpPr>
            <p:cNvPr id="107" name="Title 1">
              <a:extLst>
                <a:ext uri="{FF2B5EF4-FFF2-40B4-BE49-F238E27FC236}">
                  <a16:creationId xmlns:a16="http://schemas.microsoft.com/office/drawing/2014/main" id="{FED2B50B-940C-4780-9E7F-51AB3F575A98}"/>
                </a:ext>
              </a:extLst>
            </p:cNvPr>
            <p:cNvSpPr txBox="1">
              <a:spLocks/>
            </p:cNvSpPr>
            <p:nvPr/>
          </p:nvSpPr>
          <p:spPr>
            <a:xfrm>
              <a:off x="8218934" y="2955736"/>
              <a:ext cx="3523066" cy="2953904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ru-RU" sz="1800" b="1" dirty="0">
                  <a:latin typeface="Montserrat" pitchFamily="2" charset="-52"/>
                  <a:cs typeface="Arial" panose="020B0604020202020204" pitchFamily="34" charset="0"/>
                </a:rPr>
                <a:t>Интеграция прогнозирования спроса</a:t>
              </a:r>
              <a:r>
                <a:rPr lang="ru-RU" sz="1800" dirty="0">
                  <a:latin typeface="Montserrat" pitchFamily="2" charset="-52"/>
                  <a:cs typeface="Arial" panose="020B0604020202020204" pitchFamily="34" charset="0"/>
                </a:rPr>
                <a:t>: </a:t>
              </a:r>
            </a:p>
            <a:p>
              <a:pPr marL="342900" lvl="0" indent="-342900">
                <a:lnSpc>
                  <a:spcPct val="107000"/>
                </a:lnSpc>
                <a:buFont typeface="Symbol" panose="05050102010706020507" pitchFamily="18" charset="2"/>
                <a:buChar char=""/>
              </a:pPr>
              <a:r>
                <a:rPr lang="ru-RU" sz="1500" dirty="0">
                  <a:latin typeface="Montserrat" pitchFamily="2" charset="-52"/>
                  <a:cs typeface="Arial" panose="020B0604020202020204" pitchFamily="34" charset="0"/>
                </a:rPr>
                <a:t>Внедрение алгоритмов прогнозирования для генерации оценок будущего спроса на продукцию, основанных на исторических данных;</a:t>
              </a:r>
            </a:p>
            <a:p>
              <a:pPr marL="342900" lvl="0" indent="-342900">
                <a:lnSpc>
                  <a:spcPct val="107000"/>
                </a:lnSpc>
                <a:buFont typeface="Symbol" panose="05050102010706020507" pitchFamily="18" charset="2"/>
                <a:buChar char=""/>
              </a:pPr>
              <a:r>
                <a:rPr lang="ru-RU" sz="1500" dirty="0">
                  <a:latin typeface="Montserrat" pitchFamily="2" charset="-52"/>
                  <a:cs typeface="Arial" panose="020B0604020202020204" pitchFamily="34" charset="0"/>
                </a:rPr>
                <a:t>Визуализация прогнозов спроса с помощью графиков и диаграмм для удобства интерпретации и анализа;</a:t>
              </a:r>
            </a:p>
            <a:p>
              <a:pPr marL="342900" lvl="0" indent="-342900">
                <a:lnSpc>
                  <a:spcPct val="107000"/>
                </a:lnSpc>
                <a:spcAft>
                  <a:spcPts val="800"/>
                </a:spcAft>
                <a:buFont typeface="Symbol" panose="05050102010706020507" pitchFamily="18" charset="2"/>
                <a:buChar char=""/>
              </a:pPr>
              <a:r>
                <a:rPr lang="ru-RU" sz="1500" dirty="0">
                  <a:latin typeface="Montserrat" pitchFamily="2" charset="-52"/>
                  <a:cs typeface="Arial" panose="020B0604020202020204" pitchFamily="34" charset="0"/>
                </a:rPr>
                <a:t>Предоставление возможности пользователю для ручной корректировки прогнозов, основываясь на эксклюзивной информации или ожидаемых изменениях в рыночных условиях.</a:t>
              </a:r>
            </a:p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ru-RU" sz="1800" b="1" dirty="0">
                  <a:latin typeface="Montserrat" pitchFamily="2" charset="-52"/>
                  <a:cs typeface="Arial" panose="020B0604020202020204" pitchFamily="34" charset="0"/>
                </a:rPr>
                <a:t>Разработка системы ролей и доступов: *</a:t>
              </a:r>
            </a:p>
            <a:p>
              <a:pPr marL="342900" lvl="0" indent="-342900">
                <a:lnSpc>
                  <a:spcPct val="107000"/>
                </a:lnSpc>
                <a:buFont typeface="Symbol" panose="05050102010706020507" pitchFamily="18" charset="2"/>
                <a:buChar char=""/>
              </a:pPr>
              <a:r>
                <a:rPr lang="ru-RU" sz="1500" dirty="0">
                  <a:latin typeface="Montserrat" pitchFamily="2" charset="-52"/>
                  <a:cs typeface="Arial" panose="020B0604020202020204" pitchFamily="34" charset="0"/>
                </a:rPr>
                <a:t>Определение и настройка ролей пользователей в системе, включая администраторов, логистов, аналитиков и персонал склада;</a:t>
              </a:r>
            </a:p>
            <a:p>
              <a:pPr marL="342900" lvl="0" indent="-342900">
                <a:lnSpc>
                  <a:spcPct val="107000"/>
                </a:lnSpc>
                <a:buFont typeface="Symbol" panose="05050102010706020507" pitchFamily="18" charset="2"/>
                <a:buChar char=""/>
              </a:pPr>
              <a:r>
                <a:rPr lang="ru-RU" sz="1500" dirty="0">
                  <a:latin typeface="Montserrat" pitchFamily="2" charset="-52"/>
                  <a:cs typeface="Arial" panose="020B0604020202020204" pitchFamily="34" charset="0"/>
                </a:rPr>
                <a:t>Назначение прав доступа для каждой роли, обеспечивая соответствующий уровень контроля над функциями системы;</a:t>
              </a:r>
            </a:p>
            <a:p>
              <a:pPr marL="342900" lvl="0" indent="-342900">
                <a:lnSpc>
                  <a:spcPct val="107000"/>
                </a:lnSpc>
                <a:buFont typeface="Symbol" panose="05050102010706020507" pitchFamily="18" charset="2"/>
                <a:buChar char=""/>
              </a:pPr>
              <a:r>
                <a:rPr lang="ru-RU" sz="1500" dirty="0">
                  <a:latin typeface="Montserrat" pitchFamily="2" charset="-52"/>
                  <a:cs typeface="Arial" panose="020B0604020202020204" pitchFamily="34" charset="0"/>
                </a:rPr>
                <a:t>Разработка интерфейса для управления ролями и правами доступа, позволяющего администраторам изменять и назначать роли пользователей;</a:t>
              </a:r>
            </a:p>
            <a:p>
              <a:pPr marL="342900" lvl="0" indent="-342900">
                <a:lnSpc>
                  <a:spcPct val="107000"/>
                </a:lnSpc>
                <a:buFont typeface="Symbol" panose="05050102010706020507" pitchFamily="18" charset="2"/>
                <a:buChar char=""/>
              </a:pPr>
              <a:r>
                <a:rPr lang="ru-RU" sz="1500" dirty="0">
                  <a:latin typeface="Montserrat" pitchFamily="2" charset="-52"/>
                  <a:cs typeface="Arial" panose="020B0604020202020204" pitchFamily="34" charset="0"/>
                </a:rPr>
                <a:t>Интеграция системы аутентификации и авторизации для обеспечения безопасного доступа к функционалу в соответствии с ролями пользователя;</a:t>
              </a:r>
            </a:p>
            <a:p>
              <a:pPr marL="342900" lvl="0" indent="-342900">
                <a:lnSpc>
                  <a:spcPct val="107000"/>
                </a:lnSpc>
                <a:spcAft>
                  <a:spcPts val="800"/>
                </a:spcAft>
                <a:buFont typeface="Symbol" panose="05050102010706020507" pitchFamily="18" charset="2"/>
                <a:buChar char=""/>
              </a:pPr>
              <a:r>
                <a:rPr lang="ru-RU" sz="1500" dirty="0">
                  <a:latin typeface="Montserrat" pitchFamily="2" charset="-52"/>
                  <a:cs typeface="Arial" panose="020B0604020202020204" pitchFamily="34" charset="0"/>
                </a:rPr>
                <a:t>Тестирование механизмов доступа и безопасности для верификации правильности настройки ролей и доступов.</a:t>
              </a:r>
            </a:p>
            <a:p>
              <a:pPr marL="342900" lvl="0" indent="-342900">
                <a:lnSpc>
                  <a:spcPct val="107000"/>
                </a:lnSpc>
                <a:buFont typeface="Symbol" panose="05050102010706020507" pitchFamily="18" charset="2"/>
                <a:buChar char=""/>
              </a:pPr>
              <a:endParaRPr lang="ru-RU" sz="1600" dirty="0">
                <a:latin typeface="Montserrat" pitchFamily="2" charset="-52"/>
                <a:cs typeface="Arial" panose="020B0604020202020204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F47920"/>
                </a:solidFill>
                <a:effectLst/>
                <a:uLnTx/>
                <a:uFillTx/>
                <a:latin typeface="Montserrat" pitchFamily="2" charset="-52"/>
                <a:ea typeface="+mj-ea"/>
                <a:cs typeface="Arial" panose="020B0604020202020204" pitchFamily="34" charset="0"/>
              </a:endParaRPr>
            </a:p>
          </p:txBody>
        </p:sp>
      </p:grpSp>
      <p:sp>
        <p:nvSpPr>
          <p:cNvPr id="119" name="Slide Number">
            <a:extLst>
              <a:ext uri="{FF2B5EF4-FFF2-40B4-BE49-F238E27FC236}">
                <a16:creationId xmlns:a16="http://schemas.microsoft.com/office/drawing/2014/main" id="{174725CE-94A6-4D0D-A484-80E515069A69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646376" y="6588000"/>
            <a:ext cx="1095624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tx1"/>
                </a:solidFill>
                <a:latin typeface="Montserrat" panose="00000500000000000000" pitchFamily="2" charset="-52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5</a:t>
            </a:fld>
            <a:endParaRPr lang="ru-RU" sz="800" b="0" dirty="0">
              <a:solidFill>
                <a:schemeClr val="tx1"/>
              </a:solidFill>
              <a:latin typeface="Montserrat" panose="00000500000000000000" pitchFamily="2" charset="-52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EF5273F-8CDF-4719-8E11-BBB4DD90C2F9}"/>
              </a:ext>
            </a:extLst>
          </p:cNvPr>
          <p:cNvSpPr txBox="1"/>
          <p:nvPr/>
        </p:nvSpPr>
        <p:spPr>
          <a:xfrm>
            <a:off x="299220" y="331514"/>
            <a:ext cx="11014049" cy="739824"/>
          </a:xfrm>
          <a:prstGeom prst="rect">
            <a:avLst/>
          </a:prstGeom>
          <a:solidFill>
            <a:srgbClr val="9F6FCE"/>
          </a:solidFill>
        </p:spPr>
        <p:txBody>
          <a:bodyPr wrap="none" lIns="72000" tIns="72000" rIns="72000" bIns="72000" rtlCol="0" anchor="t">
            <a:noAutofit/>
          </a:bodyPr>
          <a:lstStyle/>
          <a:p>
            <a:r>
              <a:rPr lang="ru-RU" sz="4000" b="1" dirty="0">
                <a:latin typeface="Montserrat" panose="00000500000000000000" pitchFamily="2" charset="-52"/>
              </a:rPr>
              <a:t>Задачи</a:t>
            </a:r>
            <a:r>
              <a:rPr lang="en-US" sz="4000" b="1" dirty="0">
                <a:latin typeface="Montserrat" panose="00000500000000000000" pitchFamily="2" charset="-52"/>
              </a:rPr>
              <a:t> Frontend* </a:t>
            </a:r>
            <a:endParaRPr lang="ru-RU" sz="2400" dirty="0">
              <a:latin typeface="Montserrat" panose="00000500000000000000" pitchFamily="2" charset="-52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69DB3B3-8BE1-4433-B997-35ECE23AA243}"/>
              </a:ext>
            </a:extLst>
          </p:cNvPr>
          <p:cNvSpPr txBox="1">
            <a:spLocks/>
          </p:cNvSpPr>
          <p:nvPr/>
        </p:nvSpPr>
        <p:spPr>
          <a:xfrm>
            <a:off x="299220" y="7060437"/>
            <a:ext cx="9643108" cy="434118"/>
          </a:xfrm>
          <a:prstGeom prst="rect">
            <a:avLst/>
          </a:prstGeom>
          <a:solidFill>
            <a:sysClr val="window" lastClr="FFFFFF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F7000"/>
              </a:solidFill>
              <a:effectLst/>
              <a:uLnTx/>
              <a:uFillTx/>
              <a:latin typeface="Montserrat" pitchFamily="2" charset="-52"/>
              <a:ea typeface="+mj-ea"/>
              <a:cs typeface="Arial" panose="020B0604020202020204" pitchFamily="34" charset="0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62B1D281-6B88-461A-9613-89014DB81B49}"/>
              </a:ext>
            </a:extLst>
          </p:cNvPr>
          <p:cNvSpPr/>
          <p:nvPr/>
        </p:nvSpPr>
        <p:spPr>
          <a:xfrm>
            <a:off x="5547011" y="439816"/>
            <a:ext cx="447963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80407"/>
                </a:solidFill>
                <a:effectLst/>
                <a:uLnTx/>
                <a:uFillTx/>
                <a:latin typeface="Montserrat" panose="020B0604020202020204" charset="-52"/>
                <a:ea typeface="+mn-ea"/>
                <a:cs typeface="+mn-cs"/>
              </a:rPr>
              <a:t>Опционально. Задачи зачитываются только при выполнении </a:t>
            </a:r>
            <a:r>
              <a:rPr lang="ru-RU" sz="1400" b="1" dirty="0">
                <a:solidFill>
                  <a:srgbClr val="080407"/>
                </a:solidFill>
                <a:latin typeface="Montserrat" panose="020B0604020202020204" charset="-52"/>
              </a:rPr>
              <a:t>предыдущих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80407"/>
                </a:solidFill>
                <a:effectLst/>
                <a:uLnTx/>
                <a:uFillTx/>
                <a:latin typeface="Montserrat" panose="020B0604020202020204" charset="-52"/>
                <a:ea typeface="+mn-ea"/>
                <a:cs typeface="+mn-cs"/>
              </a:rPr>
              <a:t>пунктов.</a:t>
            </a:r>
          </a:p>
        </p:txBody>
      </p:sp>
    </p:spTree>
    <p:extLst>
      <p:ext uri="{BB962C8B-B14F-4D97-AF65-F5344CB8AC3E}">
        <p14:creationId xmlns:p14="http://schemas.microsoft.com/office/powerpoint/2010/main" val="2997627383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Прямоугольник 58"/>
          <p:cNvSpPr/>
          <p:nvPr/>
        </p:nvSpPr>
        <p:spPr>
          <a:xfrm>
            <a:off x="0" y="6021615"/>
            <a:ext cx="12192000" cy="836386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tlCol="0" anchor="ctr">
            <a:noAutofit/>
          </a:bodyPr>
          <a:lstStyle/>
          <a:p>
            <a:pPr algn="ctr"/>
            <a:endParaRPr lang="ru-RU" b="1" kern="0" dirty="0">
              <a:solidFill>
                <a:prstClr val="white"/>
              </a:solidFill>
            </a:endParaRPr>
          </a:p>
        </p:txBody>
      </p:sp>
      <p:sp>
        <p:nvSpPr>
          <p:cNvPr id="26" name="Slide Number Placeholder 1">
            <a:extLst>
              <a:ext uri="{FF2B5EF4-FFF2-40B4-BE49-F238E27FC236}">
                <a16:creationId xmlns:a16="http://schemas.microsoft.com/office/drawing/2014/main" id="{FC616AE4-DCD9-D67E-86F6-49DE2F9D863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072619" y="6614967"/>
            <a:ext cx="770951" cy="192287"/>
          </a:xfrm>
          <a:noFill/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 </a:t>
            </a:r>
          </a:p>
        </p:txBody>
      </p:sp>
      <p:sp>
        <p:nvSpPr>
          <p:cNvPr id="66" name="Slide Number Placeholder 5">
            <a:extLst>
              <a:ext uri="{FF2B5EF4-FFF2-40B4-BE49-F238E27FC236}">
                <a16:creationId xmlns:a16="http://schemas.microsoft.com/office/drawing/2014/main" id="{87E13320-0E63-462B-AA58-B6E2D00C2636}"/>
              </a:ext>
            </a:extLst>
          </p:cNvPr>
          <p:cNvSpPr txBox="1">
            <a:spLocks/>
          </p:cNvSpPr>
          <p:nvPr/>
        </p:nvSpPr>
        <p:spPr>
          <a:xfrm>
            <a:off x="450850" y="6588000"/>
            <a:ext cx="28800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0"/>
              </a:spcBef>
            </a:pPr>
            <a:r>
              <a:rPr lang="en-US" b="1" dirty="0">
                <a:solidFill>
                  <a:schemeClr val="tx1"/>
                </a:solidFill>
                <a:latin typeface="Montserrat" panose="00000500000000000000" pitchFamily="2" charset="-52"/>
              </a:rPr>
              <a:t>AXENIX </a:t>
            </a:r>
            <a:r>
              <a:rPr lang="ru-RU" dirty="0">
                <a:solidFill>
                  <a:schemeClr val="tx1"/>
                </a:solidFill>
                <a:latin typeface="Montserrat" panose="00000500000000000000" pitchFamily="2" charset="-52"/>
              </a:rPr>
              <a:t>© ООО «АксТим»</a:t>
            </a:r>
          </a:p>
        </p:txBody>
      </p:sp>
      <p:sp>
        <p:nvSpPr>
          <p:cNvPr id="119" name="Slide Number">
            <a:extLst>
              <a:ext uri="{FF2B5EF4-FFF2-40B4-BE49-F238E27FC236}">
                <a16:creationId xmlns:a16="http://schemas.microsoft.com/office/drawing/2014/main" id="{174725CE-94A6-4D0D-A484-80E515069A69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646376" y="6588000"/>
            <a:ext cx="1095624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tx1"/>
                </a:solidFill>
                <a:latin typeface="Montserrat" panose="00000500000000000000" pitchFamily="2" charset="-52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6</a:t>
            </a:fld>
            <a:endParaRPr lang="ru-RU" sz="800" b="0" dirty="0">
              <a:solidFill>
                <a:schemeClr val="tx1"/>
              </a:solidFill>
              <a:latin typeface="Montserrat" panose="00000500000000000000" pitchFamily="2" charset="-52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EF5273F-8CDF-4719-8E11-BBB4DD90C2F9}"/>
              </a:ext>
            </a:extLst>
          </p:cNvPr>
          <p:cNvSpPr txBox="1"/>
          <p:nvPr/>
        </p:nvSpPr>
        <p:spPr>
          <a:xfrm>
            <a:off x="299220" y="331514"/>
            <a:ext cx="11014049" cy="739824"/>
          </a:xfrm>
          <a:prstGeom prst="rect">
            <a:avLst/>
          </a:prstGeom>
          <a:solidFill>
            <a:srgbClr val="F4B183"/>
          </a:solidFill>
        </p:spPr>
        <p:txBody>
          <a:bodyPr wrap="none" lIns="72000" tIns="72000" rIns="72000" bIns="72000" rtlCol="0" anchor="t">
            <a:noAutofit/>
          </a:bodyPr>
          <a:lstStyle/>
          <a:p>
            <a:r>
              <a:rPr lang="ru-RU" sz="4000" b="1" dirty="0">
                <a:latin typeface="Montserrat" panose="00000500000000000000" pitchFamily="2" charset="-52"/>
              </a:rPr>
              <a:t>Требования</a:t>
            </a:r>
            <a:r>
              <a:rPr lang="en-US" sz="4000" b="1" dirty="0">
                <a:latin typeface="Montserrat" panose="00000500000000000000" pitchFamily="2" charset="-52"/>
              </a:rPr>
              <a:t> </a:t>
            </a:r>
            <a:r>
              <a:rPr lang="ru-RU" sz="4000" b="1" dirty="0">
                <a:latin typeface="Montserrat" panose="00000500000000000000" pitchFamily="2" charset="-52"/>
              </a:rPr>
              <a:t>к выполнению</a:t>
            </a:r>
            <a:r>
              <a:rPr lang="en-US" sz="4000" b="1" dirty="0">
                <a:latin typeface="Montserrat" panose="00000500000000000000" pitchFamily="2" charset="-52"/>
              </a:rPr>
              <a:t> </a:t>
            </a:r>
            <a:endParaRPr lang="ru-RU" sz="2400" dirty="0">
              <a:latin typeface="Montserrat" panose="00000500000000000000" pitchFamily="2" charset="-52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69DB3B3-8BE1-4433-B997-35ECE23AA243}"/>
              </a:ext>
            </a:extLst>
          </p:cNvPr>
          <p:cNvSpPr txBox="1">
            <a:spLocks/>
          </p:cNvSpPr>
          <p:nvPr/>
        </p:nvSpPr>
        <p:spPr>
          <a:xfrm>
            <a:off x="299220" y="7060437"/>
            <a:ext cx="9643108" cy="434118"/>
          </a:xfrm>
          <a:prstGeom prst="rect">
            <a:avLst/>
          </a:prstGeom>
          <a:solidFill>
            <a:sysClr val="window" lastClr="FFFFFF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F7000"/>
              </a:solidFill>
              <a:effectLst/>
              <a:uLnTx/>
              <a:uFillTx/>
              <a:latin typeface="Montserrat" pitchFamily="2" charset="-52"/>
              <a:ea typeface="+mj-ea"/>
              <a:cs typeface="Arial" panose="020B0604020202020204" pitchFamily="34" charset="0"/>
            </a:endParaRPr>
          </a:p>
        </p:txBody>
      </p:sp>
      <p:sp>
        <p:nvSpPr>
          <p:cNvPr id="12" name="Скругленный прямоугольник 9">
            <a:extLst>
              <a:ext uri="{FF2B5EF4-FFF2-40B4-BE49-F238E27FC236}">
                <a16:creationId xmlns:a16="http://schemas.microsoft.com/office/drawing/2014/main" id="{B59722F1-05E7-42C2-95CA-6823A14089C1}"/>
              </a:ext>
            </a:extLst>
          </p:cNvPr>
          <p:cNvSpPr/>
          <p:nvPr/>
        </p:nvSpPr>
        <p:spPr>
          <a:xfrm>
            <a:off x="485807" y="1935412"/>
            <a:ext cx="10782014" cy="3980023"/>
          </a:xfrm>
          <a:prstGeom prst="roundRect">
            <a:avLst>
              <a:gd name="adj" fmla="val 5749"/>
            </a:avLst>
          </a:prstGeom>
          <a:solidFill>
            <a:schemeClr val="bg1"/>
          </a:solidFill>
          <a:ln w="12700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38100" sx="101000" sy="101000" algn="tl" rotWithShape="0">
              <a:prstClr val="black">
                <a:alpha val="10000"/>
              </a:prstClr>
            </a:outerShdw>
          </a:effectLst>
        </p:spPr>
        <p:txBody>
          <a:bodyPr rtlCol="0" anchor="ctr"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800" dirty="0">
                <a:effectLst/>
                <a:latin typeface="Montserrat" panose="000005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1. </a:t>
            </a:r>
            <a:r>
              <a:rPr lang="ru-RU" sz="1800" u="sng" dirty="0">
                <a:effectLst/>
                <a:latin typeface="Montserrat" panose="000005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Не допускается </a:t>
            </a:r>
            <a:r>
              <a:rPr lang="ru-RU" sz="1800" dirty="0">
                <a:effectLst/>
                <a:latin typeface="Montserrat" panose="000005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применение готовых логистических инструментов для создания маршрута, однако использовать Яндекс.Карты для разработки субоптимальных маршрутов между точками разрешено;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800" dirty="0">
                <a:effectLst/>
                <a:latin typeface="Montserrat" panose="000005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2. Необходимо самостоятельно разработать базу данных;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800" dirty="0">
                <a:effectLst/>
                <a:latin typeface="Montserrat" panose="000005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3. </a:t>
            </a:r>
            <a:r>
              <a:rPr lang="ru-RU" dirty="0">
                <a:latin typeface="Montserrat" panose="000005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Д</a:t>
            </a:r>
            <a:r>
              <a:rPr lang="ru-RU" sz="1800" dirty="0">
                <a:effectLst/>
                <a:latin typeface="Montserrat" panose="000005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олжна быть предусмотрена функциональность для импорта и экспорта файлов в форматах EXCEL и CSV;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800" dirty="0">
                <a:effectLst/>
                <a:latin typeface="Montserrat" panose="000005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4. Интерфейс веб-приложения должен предоставлять возможность редактирования информации о продуктах и сохранения этих изменений в базе данных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dirty="0">
                <a:latin typeface="Montserrat" panose="000005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5. </a:t>
            </a:r>
            <a:r>
              <a:rPr lang="ru-RU" b="1" dirty="0">
                <a:latin typeface="Montserrat" panose="000005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Для выполнения кейса использовать предоставленные данные</a:t>
            </a:r>
            <a:r>
              <a:rPr lang="en-US" dirty="0">
                <a:latin typeface="Montserrat" panose="000005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r>
              <a:rPr lang="ru-RU" dirty="0">
                <a:latin typeface="Montserrat" panose="00000500000000000000" pitchFamily="2" charset="-52"/>
                <a:ea typeface="Calibri" panose="020F0502020204030204" pitchFamily="34" charset="0"/>
                <a:cs typeface="Times New Roman" panose="02020603050405020304" pitchFamily="18" charset="0"/>
                <a:hlinkClick r:id="rId4"/>
              </a:rPr>
              <a:t>Файл </a:t>
            </a:r>
            <a:endParaRPr lang="ru-RU" sz="1800" dirty="0">
              <a:effectLst/>
              <a:latin typeface="Montserrat" panose="00000500000000000000" pitchFamily="2" charset="-52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/>
            <a:endParaRPr lang="ru-RU" b="1" kern="0" dirty="0">
              <a:solidFill>
                <a:prstClr val="white"/>
              </a:solidFill>
              <a:latin typeface="Montserrat" panose="00000500000000000000" pitchFamily="2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2555377957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66;p14">
            <a:extLst>
              <a:ext uri="{FF2B5EF4-FFF2-40B4-BE49-F238E27FC236}">
                <a16:creationId xmlns:a16="http://schemas.microsoft.com/office/drawing/2014/main" id="{5FA48CBD-ED19-440E-8555-116E90AC3960}"/>
              </a:ext>
            </a:extLst>
          </p:cNvPr>
          <p:cNvSpPr/>
          <p:nvPr/>
        </p:nvSpPr>
        <p:spPr>
          <a:xfrm>
            <a:off x="1000126" y="824092"/>
            <a:ext cx="6378576" cy="2264465"/>
          </a:xfrm>
          <a:prstGeom prst="roundRect">
            <a:avLst>
              <a:gd name="adj" fmla="val 4691"/>
            </a:avLst>
          </a:prstGeom>
          <a:solidFill>
            <a:schemeClr val="bg1"/>
          </a:solidFill>
          <a:ln w="19050" cap="flat" cmpd="sng">
            <a:solidFill>
              <a:srgbClr val="F39E74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>
              <a:solidFill>
                <a:srgbClr val="000000"/>
              </a:solidFill>
            </a:endParaRPr>
          </a:p>
        </p:txBody>
      </p:sp>
      <p:sp>
        <p:nvSpPr>
          <p:cNvPr id="3" name="Title 4">
            <a:extLst>
              <a:ext uri="{FF2B5EF4-FFF2-40B4-BE49-F238E27FC236}">
                <a16:creationId xmlns:a16="http://schemas.microsoft.com/office/drawing/2014/main" id="{F9F773ED-2CFC-46A6-870D-569E326AFF61}"/>
              </a:ext>
            </a:extLst>
          </p:cNvPr>
          <p:cNvSpPr txBox="1">
            <a:spLocks/>
          </p:cNvSpPr>
          <p:nvPr/>
        </p:nvSpPr>
        <p:spPr>
          <a:xfrm>
            <a:off x="933451" y="4012330"/>
            <a:ext cx="8559799" cy="122396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dirty="0">
                <a:solidFill>
                  <a:schemeClr val="bg1"/>
                </a:solidFill>
                <a:latin typeface="Montserrat ExtraBold" panose="00000900000000000000" pitchFamily="2" charset="-52"/>
              </a:rPr>
              <a:t>Контакты для связи и вопросов: </a:t>
            </a:r>
            <a:r>
              <a:rPr lang="en-US" sz="2400" dirty="0">
                <a:solidFill>
                  <a:schemeClr val="bg1"/>
                </a:solidFill>
                <a:latin typeface="Montserrat ExtraBold" panose="00000900000000000000" pitchFamily="2" charset="-52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@ekaterina_axenix</a:t>
            </a:r>
            <a:endParaRPr lang="ru-RU" sz="2400" dirty="0">
              <a:solidFill>
                <a:schemeClr val="bg1"/>
              </a:solidFill>
              <a:latin typeface="Montserrat ExtraBold" panose="00000900000000000000" pitchFamily="2" charset="-52"/>
            </a:endParaRPr>
          </a:p>
        </p:txBody>
      </p:sp>
      <p:sp>
        <p:nvSpPr>
          <p:cNvPr id="4" name="Title 4">
            <a:extLst>
              <a:ext uri="{FF2B5EF4-FFF2-40B4-BE49-F238E27FC236}">
                <a16:creationId xmlns:a16="http://schemas.microsoft.com/office/drawing/2014/main" id="{E77761B2-59FA-4FB3-BAE6-88E19D3235A5}"/>
              </a:ext>
            </a:extLst>
          </p:cNvPr>
          <p:cNvSpPr txBox="1">
            <a:spLocks/>
          </p:cNvSpPr>
          <p:nvPr/>
        </p:nvSpPr>
        <p:spPr>
          <a:xfrm>
            <a:off x="1209676" y="1166889"/>
            <a:ext cx="5959475" cy="192166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000" b="1" dirty="0">
                <a:latin typeface="Montserrat" pitchFamily="2" charset="-52"/>
                <a:sym typeface="Montserrat" pitchFamily="2" charset="-52"/>
              </a:rPr>
              <a:t>Призовой фонд:</a:t>
            </a:r>
          </a:p>
          <a:p>
            <a:endParaRPr lang="ru-RU" sz="3000" b="1" dirty="0">
              <a:latin typeface="Montserrat" pitchFamily="2" charset="-52"/>
              <a:sym typeface="Montserrat" pitchFamily="2" charset="-52"/>
            </a:endParaRPr>
          </a:p>
          <a:p>
            <a:r>
              <a:rPr lang="ru-RU" sz="4000" b="1" dirty="0">
                <a:latin typeface="Montserrat" pitchFamily="2" charset="-52"/>
                <a:sym typeface="Montserrat" pitchFamily="2" charset="-52"/>
              </a:rPr>
              <a:t>75000 руб.</a:t>
            </a:r>
          </a:p>
        </p:txBody>
      </p:sp>
    </p:spTree>
    <p:extLst>
      <p:ext uri="{BB962C8B-B14F-4D97-AF65-F5344CB8AC3E}">
        <p14:creationId xmlns:p14="http://schemas.microsoft.com/office/powerpoint/2010/main" val="1292714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BF6C6505-A617-1C78-6915-347D4AE8D8E6}"/>
              </a:ext>
            </a:extLst>
          </p:cNvPr>
          <p:cNvSpPr txBox="1"/>
          <p:nvPr/>
        </p:nvSpPr>
        <p:spPr>
          <a:xfrm>
            <a:off x="-114300" y="-614363"/>
            <a:ext cx="0" cy="0"/>
          </a:xfrm>
          <a:prstGeom prst="rect">
            <a:avLst/>
          </a:prstGeom>
          <a:noFill/>
        </p:spPr>
        <p:txBody>
          <a:bodyPr wrap="none" lIns="0" tIns="0" rIns="0" bIns="45720" rtlCol="0">
            <a:noAutofit/>
          </a:bodyPr>
          <a:lstStyle/>
          <a:p>
            <a:endParaRPr lang="en-RU" sz="16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64D4A9F-C47B-4115-8715-6C645491522B}"/>
              </a:ext>
            </a:extLst>
          </p:cNvPr>
          <p:cNvSpPr txBox="1"/>
          <p:nvPr/>
        </p:nvSpPr>
        <p:spPr>
          <a:xfrm>
            <a:off x="20299680" y="-113385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RU" noProof="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FF6D981-0052-ABFC-0CA2-5DE78ACAB4B1}"/>
              </a:ext>
            </a:extLst>
          </p:cNvPr>
          <p:cNvSpPr txBox="1"/>
          <p:nvPr/>
        </p:nvSpPr>
        <p:spPr>
          <a:xfrm>
            <a:off x="203200" y="725714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RU" noProof="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1D8CF17-99AD-F3BC-7487-357058DBA9DB}"/>
              </a:ext>
            </a:extLst>
          </p:cNvPr>
          <p:cNvSpPr txBox="1"/>
          <p:nvPr/>
        </p:nvSpPr>
        <p:spPr>
          <a:xfrm>
            <a:off x="7078133" y="-138853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RU" noProof="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B60A423-88B0-4A65-A503-102DBC4FC71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457200"/>
            <a:ext cx="12192000" cy="7315200"/>
          </a:xfrm>
          <a:prstGeom prst="rect">
            <a:avLst/>
          </a:prstGeom>
          <a:solidFill>
            <a:srgbClr val="F37022"/>
          </a:solidFill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9EBF7759-B3B8-4D5C-8196-B0B827F74B28}"/>
              </a:ext>
            </a:extLst>
          </p:cNvPr>
          <p:cNvSpPr txBox="1">
            <a:spLocks/>
          </p:cNvSpPr>
          <p:nvPr/>
        </p:nvSpPr>
        <p:spPr>
          <a:xfrm>
            <a:off x="3580585" y="5195075"/>
            <a:ext cx="2050399" cy="444152"/>
          </a:xfrm>
          <a:prstGeom prst="rect">
            <a:avLst/>
          </a:prstGeom>
        </p:spPr>
        <p:txBody>
          <a:bodyPr vert="horz" lIns="0" tIns="4572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dirty="0">
                <a:solidFill>
                  <a:schemeClr val="bg1"/>
                </a:solidFill>
                <a:latin typeface="Montserrat" panose="00000500000000000000" pitchFamily="2" charset="-52"/>
              </a:rPr>
              <a:t>Группа ВК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B4287C07-98AA-4684-B2AE-991BB633DB3B}"/>
              </a:ext>
            </a:extLst>
          </p:cNvPr>
          <p:cNvSpPr txBox="1">
            <a:spLocks/>
          </p:cNvSpPr>
          <p:nvPr/>
        </p:nvSpPr>
        <p:spPr>
          <a:xfrm>
            <a:off x="6286083" y="5165219"/>
            <a:ext cx="2229268" cy="444152"/>
          </a:xfrm>
          <a:prstGeom prst="rect">
            <a:avLst/>
          </a:prstGeom>
        </p:spPr>
        <p:txBody>
          <a:bodyPr vert="horz" lIns="0" tIns="4572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dirty="0">
                <a:solidFill>
                  <a:schemeClr val="bg1"/>
                </a:solidFill>
                <a:latin typeface="Montserrat" panose="00000500000000000000" pitchFamily="2" charset="-52"/>
              </a:rPr>
              <a:t>Канал </a:t>
            </a:r>
            <a:r>
              <a:rPr lang="en-US" sz="2800" dirty="0">
                <a:solidFill>
                  <a:schemeClr val="bg1"/>
                </a:solidFill>
                <a:latin typeface="Montserrat" panose="00000500000000000000" pitchFamily="2" charset="-52"/>
              </a:rPr>
              <a:t>Telegram</a:t>
            </a:r>
            <a:endParaRPr lang="ru-RU" sz="2800" dirty="0">
              <a:solidFill>
                <a:schemeClr val="bg1"/>
              </a:solidFill>
              <a:latin typeface="Montserrat" panose="00000500000000000000" pitchFamily="2" charset="-52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70789913-4D89-44D3-AFF0-9DDD20BF11C8}"/>
              </a:ext>
            </a:extLst>
          </p:cNvPr>
          <p:cNvSpPr txBox="1">
            <a:spLocks/>
          </p:cNvSpPr>
          <p:nvPr/>
        </p:nvSpPr>
        <p:spPr>
          <a:xfrm>
            <a:off x="1056878" y="5175171"/>
            <a:ext cx="1466829" cy="454104"/>
          </a:xfrm>
          <a:prstGeom prst="rect">
            <a:avLst/>
          </a:prstGeom>
        </p:spPr>
        <p:txBody>
          <a:bodyPr vert="horz" lIns="0" tIns="4572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>
                <a:solidFill>
                  <a:schemeClr val="bg1"/>
                </a:solidFill>
                <a:latin typeface="Montserrat" panose="00000500000000000000" pitchFamily="2" charset="-52"/>
              </a:rPr>
              <a:t>Axenix</a:t>
            </a:r>
            <a:endParaRPr lang="ru-RU" sz="2800" dirty="0">
              <a:solidFill>
                <a:schemeClr val="bg1"/>
              </a:solidFill>
              <a:latin typeface="Montserrat" panose="00000500000000000000" pitchFamily="2" charset="-52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E7C634AD-4D4F-4CB6-B1F2-4B753C8B7D9C}"/>
              </a:ext>
            </a:extLst>
          </p:cNvPr>
          <p:cNvSpPr/>
          <p:nvPr/>
        </p:nvSpPr>
        <p:spPr>
          <a:xfrm>
            <a:off x="352007" y="6385273"/>
            <a:ext cx="2171700" cy="444152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rgbClr val="F3702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>
            <a:noAutofit/>
          </a:bodyPr>
          <a:lstStyle/>
          <a:p>
            <a:pPr algn="ctr"/>
            <a:endParaRPr lang="ru-RU" b="1" kern="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027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HINKCELLPRESENTATIONDONOTDELETE" val="&lt;?xml version=&quot;1.0&quot; encoding=&quot;UTF-16&quot; standalone=&quot;yes&quot;?&gt;&lt;root reqver=&quot;27037&quot;&gt;&lt;version val=&quot;3310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4&quot;&gt;&lt;elem m_fUsage=&quot;1.53899999999999992362E+00&quot;&gt;&lt;m_msothmcolidx val=&quot;0&quot;/&gt;&lt;m_rgb r=&quot;FD&quot; g=&quot;E2&quot; b=&quot;D3&quot;/&gt;&lt;/elem&gt;&lt;elem m_fUsage=&quot;1.00000000000000000000E+00&quot;&gt;&lt;m_msothmcolidx val=&quot;0&quot;/&gt;&lt;m_rgb r=&quot;C5&quot; g=&quot;50&quot; b=&quot;0B&quot;/&gt;&lt;/elem&gt;&lt;elem m_fUsage=&quot;9.00000000000000022204E-01&quot;&gt;&lt;m_msothmcolidx val=&quot;0&quot;/&gt;&lt;m_rgb r=&quot;FA&quot; g=&quot;C6&quot; b=&quot;A7&quot;/&gt;&lt;/elem&gt;&lt;elem m_fUsage=&quot;6.56100000000000127542E-01&quot;&gt;&lt;m_msothmcolidx val=&quot;0&quot;/&gt;&lt;m_rgb r=&quot;0B&quot; g=&quot;80&quot; b=&quot;C5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  <p:tag name="MTBTACCENT" val="Accent1ColorBoldText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heme/theme1.xml><?xml version="1.0" encoding="utf-8"?>
<a:theme xmlns:a="http://schemas.openxmlformats.org/drawingml/2006/main" name="AXENIX">
  <a:themeElements>
    <a:clrScheme name="axenix">
      <a:dk1>
        <a:sysClr val="windowText" lastClr="000000"/>
      </a:dk1>
      <a:lt1>
        <a:sysClr val="window" lastClr="FFFFFF"/>
      </a:lt1>
      <a:dk2>
        <a:srgbClr val="021B2A"/>
      </a:dk2>
      <a:lt2>
        <a:srgbClr val="EAE8E4"/>
      </a:lt2>
      <a:accent1>
        <a:srgbClr val="F37022"/>
      </a:accent1>
      <a:accent2>
        <a:srgbClr val="5F308C"/>
      </a:accent2>
      <a:accent3>
        <a:srgbClr val="22A5F3"/>
      </a:accent3>
      <a:accent4>
        <a:srgbClr val="821F00"/>
      </a:accent4>
      <a:accent5>
        <a:srgbClr val="414042"/>
      </a:accent5>
      <a:accent6>
        <a:srgbClr val="B3B2B3"/>
      </a:accent6>
      <a:hlink>
        <a:srgbClr val="0563C1"/>
      </a:hlink>
      <a:folHlink>
        <a:srgbClr val="954F72"/>
      </a:folHlink>
    </a:clrScheme>
    <a:fontScheme name="Arial Axenix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12700" cap="flat" cmpd="sng" algn="ctr">
          <a:solidFill>
            <a:srgbClr val="F37022"/>
          </a:solidFill>
          <a:prstDash val="solid"/>
          <a:headEnd type="none" w="med" len="med"/>
          <a:tailEnd type="none" w="med" len="med"/>
        </a:ln>
        <a:effectLst/>
      </a:spPr>
      <a:bodyPr rtlCol="0" anchor="ctr">
        <a:noAutofit/>
      </a:bodyPr>
      <a:lstStyle>
        <a:defPPr algn="ctr">
          <a:defRPr b="1" kern="0" dirty="0">
            <a:solidFill>
              <a:prstClr val="white"/>
            </a:solidFill>
          </a:defRPr>
        </a:defPPr>
      </a:lstStyle>
    </a:spDef>
    <a:txDef>
      <a:spPr/>
      <a:bodyPr vert="horz" wrap="square" lIns="0" tIns="0" rIns="0" bIns="0" rtlCol="0">
        <a:spAutoFit/>
      </a:bodyPr>
      <a:lstStyle>
        <a:defPPr marL="0" indent="0" algn="l">
          <a:spcBef>
            <a:spcPts val="0"/>
          </a:spcBef>
          <a:spcAft>
            <a:spcPts val="300"/>
          </a:spcAft>
          <a:buNone/>
          <a:defRPr sz="1000" dirty="0" smtClean="0">
            <a:ea typeface="Tahoma" panose="020B0604030504040204" pitchFamily="34" charset="0"/>
            <a:cs typeface="Arial" panose="020B0604020202020204" pitchFamily="34" charset="0"/>
            <a:sym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F70F1CC2571114A9AB4F8D17DB13071" ma:contentTypeVersion="2" ma:contentTypeDescription="Create a new document." ma:contentTypeScope="" ma:versionID="16fcc27b35bb5c0ff73bc16590c3b813">
  <xsd:schema xmlns:xsd="http://www.w3.org/2001/XMLSchema" xmlns:xs="http://www.w3.org/2001/XMLSchema" xmlns:p="http://schemas.microsoft.com/office/2006/metadata/properties" xmlns:ns2="25156473-9b09-46bd-9f23-506bdb3c47da" targetNamespace="http://schemas.microsoft.com/office/2006/metadata/properties" ma:root="true" ma:fieldsID="330c833d1991d6b4c2006b60abca9c89" ns2:_="">
    <xsd:import namespace="25156473-9b09-46bd-9f23-506bdb3c47d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5156473-9b09-46bd-9f23-506bdb3c47da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4C624A91-CF02-4598-91CF-3CF8D6D2736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5156473-9b09-46bd-9f23-506bdb3c47d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CDD8BB2-C9B4-410F-9066-3B4A021186C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158C809-E108-472A-B408-E29D6D4AB210}">
  <ds:schemaRefs>
    <ds:schemaRef ds:uri="http://schemas.microsoft.com/office/2006/metadata/properties"/>
    <ds:schemaRef ds:uri="25156473-9b09-46bd-9f23-506bdb3c47da"/>
    <ds:schemaRef ds:uri="http://www.w3.org/XML/1998/namespace"/>
    <ds:schemaRef ds:uri="http://schemas.openxmlformats.org/package/2006/metadata/core-properties"/>
    <ds:schemaRef ds:uri="http://schemas.microsoft.com/office/2006/documentManagement/types"/>
    <ds:schemaRef ds:uri="http://purl.org/dc/elements/1.1/"/>
    <ds:schemaRef ds:uri="http://purl.org/dc/dcmitype/"/>
    <ds:schemaRef ds:uri="http://purl.org/dc/terms/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4072</TotalTime>
  <Words>653</Words>
  <Application>Microsoft Office PowerPoint</Application>
  <PresentationFormat>Широкоэкранный</PresentationFormat>
  <Paragraphs>68</Paragraphs>
  <Slides>8</Slides>
  <Notes>6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7" baseType="lpstr">
      <vt:lpstr>Arial</vt:lpstr>
      <vt:lpstr>Arial Black</vt:lpstr>
      <vt:lpstr>Calibri</vt:lpstr>
      <vt:lpstr>Montserrat</vt:lpstr>
      <vt:lpstr>Montserrat Black</vt:lpstr>
      <vt:lpstr>Montserrat ExtraBold</vt:lpstr>
      <vt:lpstr>Symbol</vt:lpstr>
      <vt:lpstr>AXENIX</vt:lpstr>
      <vt:lpstr>Слайд think-cell</vt:lpstr>
      <vt:lpstr>Презентация PowerPoint</vt:lpstr>
      <vt:lpstr>О кейсе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alamov Sergey</dc:creator>
  <cp:lastModifiedBy>Ponomareva Ekaterina</cp:lastModifiedBy>
  <cp:revision>548</cp:revision>
  <dcterms:created xsi:type="dcterms:W3CDTF">2023-05-23T13:09:46Z</dcterms:created>
  <dcterms:modified xsi:type="dcterms:W3CDTF">2024-04-19T10:36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F70F1CC2571114A9AB4F8D17DB13071</vt:lpwstr>
  </property>
</Properties>
</file>